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tmp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6"/>
  </p:notesMasterIdLst>
  <p:handoutMasterIdLst>
    <p:handoutMasterId r:id="rId17"/>
  </p:handoutMasterIdLst>
  <p:sldIdLst>
    <p:sldId id="256" r:id="rId2"/>
    <p:sldId id="340" r:id="rId3"/>
    <p:sldId id="370" r:id="rId4"/>
    <p:sldId id="371" r:id="rId5"/>
    <p:sldId id="372" r:id="rId6"/>
    <p:sldId id="373" r:id="rId7"/>
    <p:sldId id="374" r:id="rId8"/>
    <p:sldId id="375" r:id="rId9"/>
    <p:sldId id="361" r:id="rId10"/>
    <p:sldId id="356" r:id="rId11"/>
    <p:sldId id="357" r:id="rId12"/>
    <p:sldId id="358" r:id="rId13"/>
    <p:sldId id="369" r:id="rId14"/>
    <p:sldId id="360" r:id="rId15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31E80E9D-7DDB-4EDD-87B3-69D6146055DE}">
          <p14:sldIdLst>
            <p14:sldId id="256"/>
          </p14:sldIdLst>
        </p14:section>
        <p14:section name="Untitled Section" id="{3251CB9C-C984-47B4-BD9F-1CB9F5F677BF}">
          <p14:sldIdLst>
            <p14:sldId id="340"/>
            <p14:sldId id="370"/>
            <p14:sldId id="371"/>
            <p14:sldId id="372"/>
            <p14:sldId id="373"/>
            <p14:sldId id="374"/>
            <p14:sldId id="375"/>
            <p14:sldId id="361"/>
            <p14:sldId id="356"/>
            <p14:sldId id="357"/>
            <p14:sldId id="358"/>
            <p14:sldId id="369"/>
            <p14:sldId id="360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870C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67" d="100"/>
          <a:sy n="67" d="100"/>
        </p:scale>
        <p:origin x="-1428" y="-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B3FB48D-965D-4D10-BD34-9D2AE34432FD}" type="datetimeFigureOut">
              <a:rPr lang="en-US" smtClean="0"/>
              <a:t>2/10/201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E094B8A-B4F6-4763-A1DE-34F95845D56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68911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77EB6D92-6B36-4F1E-A697-D4DE7CBC0B5E}" type="datetimeFigureOut">
              <a:rPr lang="en-US" smtClean="0"/>
              <a:t>2/10/201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652F4AA7-057D-4C45-9780-DA79727D7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29022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2F4AA7-057D-4C45-9780-DA79727D7DF4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0271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 dirty="0" smtClean="0"/>
              <a:t>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2F4AA7-057D-4C45-9780-DA79727D7DF4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95254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7704"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E04C29-5F9A-490B-9D4F-F8A5FD043D29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44605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3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9154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/>
          </a:p>
        </p:txBody>
      </p:sp>
      <p:sp>
        <p:nvSpPr>
          <p:cNvPr id="86020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1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0962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/>
          </a:p>
        </p:txBody>
      </p:sp>
      <p:sp>
        <p:nvSpPr>
          <p:cNvPr id="81924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.xml"/><Relationship Id="rId4" Type="http://schemas.openxmlformats.org/officeDocument/2006/relationships/tags" Target="../tags/tag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ctrTitle"/>
          </p:nvPr>
        </p:nvSpPr>
        <p:spPr>
          <a:xfrm>
            <a:off x="1219200" y="3886200"/>
            <a:ext cx="6858000" cy="990600"/>
          </a:xfrm>
        </p:spPr>
        <p:txBody>
          <a:bodyPr anchor="t" anchorCtr="0"/>
          <a:lstStyle>
            <a:lvl1pPr algn="r">
              <a:defRPr sz="3200">
                <a:solidFill>
                  <a:schemeClr val="tx1"/>
                </a:solidFill>
              </a:defRPr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9" name="Subtitle 8"/>
          <p:cNvSpPr>
            <a:spLocks noGrp="1"/>
          </p:cNvSpPr>
          <p:nvPr>
            <p:ph type="subTitle" idx="1"/>
          </p:nvPr>
        </p:nvSpPr>
        <p:spPr>
          <a:xfrm>
            <a:off x="1219200" y="5124450"/>
            <a:ext cx="6858000" cy="533400"/>
          </a:xfrm>
        </p:spPr>
        <p:txBody>
          <a:bodyPr/>
          <a:lstStyle>
            <a:lvl1pPr marL="0" indent="0" algn="r">
              <a:buNone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en-US" smtClean="0"/>
              <a:t>Click to edit Master subtitle style</a:t>
            </a:r>
            <a:endParaRPr kumimoji="0" lang="en-US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>
          <a:xfrm>
            <a:off x="6400800" y="6355080"/>
            <a:ext cx="2286000" cy="365760"/>
          </a:xfrm>
        </p:spPr>
        <p:txBody>
          <a:bodyPr/>
          <a:lstStyle>
            <a:lvl1pPr>
              <a:defRPr sz="1400"/>
            </a:lvl1pPr>
          </a:lstStyle>
          <a:p>
            <a:fld id="{8B323866-4C15-4B00-BC06-2E12190AD3CF}" type="datetimeFigureOut">
              <a:rPr lang="en-US" smtClean="0"/>
              <a:t>2/10/2013</a:t>
            </a:fld>
            <a:endParaRPr lang="en-US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1"/>
          </p:nvPr>
        </p:nvSpPr>
        <p:spPr>
          <a:xfrm>
            <a:off x="2898648" y="6355080"/>
            <a:ext cx="3474720" cy="365760"/>
          </a:xfrm>
        </p:spPr>
        <p:txBody>
          <a:bodyPr/>
          <a:lstStyle/>
          <a:p>
            <a:endParaRPr lang="en-US"/>
          </a:p>
        </p:txBody>
      </p:sp>
      <p:sp>
        <p:nvSpPr>
          <p:cNvPr id="29" name="Slide Number Placeholder 28"/>
          <p:cNvSpPr>
            <a:spLocks noGrp="1"/>
          </p:cNvSpPr>
          <p:nvPr>
            <p:ph type="sldNum" sz="quarter" idx="12"/>
          </p:nvPr>
        </p:nvSpPr>
        <p:spPr>
          <a:xfrm>
            <a:off x="1216152" y="6355080"/>
            <a:ext cx="1219200" cy="365760"/>
          </a:xfrm>
        </p:spPr>
        <p:txBody>
          <a:bodyPr/>
          <a:lstStyle/>
          <a:p>
            <a:fld id="{FE7112DE-9AFD-4604-9485-6EC6A0CD3D40}" type="slidenum">
              <a:rPr lang="en-US" smtClean="0"/>
              <a:t>‹#›</a:t>
            </a:fld>
            <a:endParaRPr lang="en-US"/>
          </a:p>
        </p:txBody>
      </p:sp>
      <p:sp>
        <p:nvSpPr>
          <p:cNvPr id="21" name="Rectangle 20"/>
          <p:cNvSpPr/>
          <p:nvPr/>
        </p:nvSpPr>
        <p:spPr>
          <a:xfrm>
            <a:off x="904875" y="3648075"/>
            <a:ext cx="7315200" cy="1280160"/>
          </a:xfrm>
          <a:prstGeom prst="rect">
            <a:avLst/>
          </a:prstGeom>
          <a:noFill/>
          <a:ln w="6350" cap="rnd" cmpd="sng" algn="ctr">
            <a:solidFill>
              <a:schemeClr val="accent1"/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33" name="Rectangle 32"/>
          <p:cNvSpPr/>
          <p:nvPr/>
        </p:nvSpPr>
        <p:spPr>
          <a:xfrm>
            <a:off x="914400" y="5048250"/>
            <a:ext cx="7315200" cy="685800"/>
          </a:xfrm>
          <a:prstGeom prst="rect">
            <a:avLst/>
          </a:prstGeom>
          <a:noFill/>
          <a:ln w="6350" cap="rnd" cmpd="sng" algn="ctr">
            <a:solidFill>
              <a:schemeClr val="accent2"/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2" name="Rectangle 21"/>
          <p:cNvSpPr/>
          <p:nvPr/>
        </p:nvSpPr>
        <p:spPr>
          <a:xfrm>
            <a:off x="904875" y="3648075"/>
            <a:ext cx="228600" cy="1280160"/>
          </a:xfrm>
          <a:prstGeom prst="rect">
            <a:avLst/>
          </a:prstGeom>
          <a:solidFill>
            <a:schemeClr val="accent1"/>
          </a:solidFill>
          <a:ln w="635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32" name="Rectangle 31"/>
          <p:cNvSpPr/>
          <p:nvPr/>
        </p:nvSpPr>
        <p:spPr>
          <a:xfrm>
            <a:off x="914400" y="5048250"/>
            <a:ext cx="228600" cy="685800"/>
          </a:xfrm>
          <a:prstGeom prst="rect">
            <a:avLst/>
          </a:prstGeom>
          <a:solidFill>
            <a:schemeClr val="accent2"/>
          </a:solidFill>
          <a:ln w="635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323866-4C15-4B00-BC06-2E12190AD3CF}" type="datetimeFigureOut">
              <a:rPr lang="en-US" smtClean="0"/>
              <a:t>2/10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7112DE-9AFD-4604-9485-6EC6A0CD3D40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323866-4C15-4B00-BC06-2E12190AD3CF}" type="datetimeFigureOut">
              <a:rPr lang="en-US" smtClean="0"/>
              <a:t>2/10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7112DE-9AFD-4604-9485-6EC6A0CD3D4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Straight Connector 6"/>
          <p:cNvSpPr>
            <a:spLocks noChangeShapeType="1"/>
          </p:cNvSpPr>
          <p:nvPr/>
        </p:nvSpPr>
        <p:spPr bwMode="auto">
          <a:xfrm>
            <a:off x="457200" y="6353175"/>
            <a:ext cx="8229600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8" name="Isosceles Triangle 7"/>
          <p:cNvSpPr>
            <a:spLocks noChangeAspect="1"/>
          </p:cNvSpPr>
          <p:nvPr/>
        </p:nvSpPr>
        <p:spPr>
          <a:xfrm rot="5400000">
            <a:off x="419100" y="6467475"/>
            <a:ext cx="190849" cy="120314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9" name="Straight Connector 8"/>
          <p:cNvSpPr>
            <a:spLocks noChangeShapeType="1"/>
          </p:cNvSpPr>
          <p:nvPr/>
        </p:nvSpPr>
        <p:spPr bwMode="auto">
          <a:xfrm rot="5400000">
            <a:off x="3629607" y="3201952"/>
            <a:ext cx="5852160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164651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Placeholder 15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223838" y="230189"/>
            <a:ext cx="8691562" cy="547132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1800">
                <a:latin typeface="+mj-lt"/>
                <a:cs typeface="Calibri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>
          <a:xfrm>
            <a:off x="466343" y="1371600"/>
            <a:ext cx="8229600" cy="463600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Slide Number Placeholder 6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6553200" y="6672105"/>
            <a:ext cx="2133600" cy="190042"/>
          </a:xfrm>
        </p:spPr>
        <p:txBody>
          <a:bodyPr/>
          <a:lstStyle>
            <a:lvl1pPr>
              <a:defRPr>
                <a:latin typeface="Calibri" pitchFamily="34" charset="0"/>
                <a:ea typeface="Segoe UI" pitchFamily="34" charset="0"/>
                <a:cs typeface="Calibri" pitchFamily="34" charset="0"/>
              </a:defRPr>
            </a:lvl1pPr>
          </a:lstStyle>
          <a:p>
            <a:fld id="{0F76A134-770F-4BF4-8849-956DF025AE3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416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323866-4C15-4B00-BC06-2E12190AD3CF}" type="datetimeFigureOut">
              <a:rPr lang="en-US" smtClean="0"/>
              <a:t>2/10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7112DE-9AFD-4604-9485-6EC6A0CD3D4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"/>
          </p:nvPr>
        </p:nvSpPr>
        <p:spPr>
          <a:xfrm>
            <a:off x="457200" y="1219200"/>
            <a:ext cx="8229600" cy="4937760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2971800"/>
            <a:ext cx="6858000" cy="1066800"/>
          </a:xfrm>
        </p:spPr>
        <p:txBody>
          <a:bodyPr anchor="t" anchorCtr="0"/>
          <a:lstStyle>
            <a:lvl1pPr algn="r">
              <a:buNone/>
              <a:defRPr sz="3200" b="0" cap="none" baseline="0"/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95400" y="4267200"/>
            <a:ext cx="6781800" cy="1143000"/>
          </a:xfrm>
        </p:spPr>
        <p:txBody>
          <a:bodyPr anchor="t" anchorCtr="0"/>
          <a:lstStyle>
            <a:lvl1pPr marL="0" indent="0" algn="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400800" y="6355080"/>
            <a:ext cx="2286000" cy="365760"/>
          </a:xfrm>
        </p:spPr>
        <p:txBody>
          <a:bodyPr/>
          <a:lstStyle/>
          <a:p>
            <a:fld id="{8B323866-4C15-4B00-BC06-2E12190AD3CF}" type="datetimeFigureOut">
              <a:rPr lang="en-US" smtClean="0"/>
              <a:t>2/10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8648" y="6355080"/>
            <a:ext cx="3474720" cy="36576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9848" y="6355080"/>
            <a:ext cx="1520952" cy="365760"/>
          </a:xfrm>
        </p:spPr>
        <p:txBody>
          <a:bodyPr/>
          <a:lstStyle/>
          <a:p>
            <a:fld id="{FE7112DE-9AFD-4604-9485-6EC6A0CD3D4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914400" y="2819400"/>
            <a:ext cx="7315200" cy="1280160"/>
          </a:xfrm>
          <a:prstGeom prst="rect">
            <a:avLst/>
          </a:prstGeom>
          <a:noFill/>
          <a:ln w="6350" cap="rnd" cmpd="sng" algn="ctr">
            <a:solidFill>
              <a:schemeClr val="accent1"/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8" name="Rectangle 7"/>
          <p:cNvSpPr/>
          <p:nvPr/>
        </p:nvSpPr>
        <p:spPr>
          <a:xfrm>
            <a:off x="914400" y="2819400"/>
            <a:ext cx="228600" cy="1280160"/>
          </a:xfrm>
          <a:prstGeom prst="rect">
            <a:avLst/>
          </a:prstGeom>
          <a:solidFill>
            <a:schemeClr val="accent1"/>
          </a:solidFill>
          <a:ln w="635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914400"/>
          </a:xfrm>
        </p:spPr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323866-4C15-4B00-BC06-2E12190AD3CF}" type="datetimeFigureOut">
              <a:rPr lang="en-US" smtClean="0"/>
              <a:t>2/10/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7112DE-9AFD-4604-9485-6EC6A0CD3D4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"/>
          </p:nvPr>
        </p:nvSpPr>
        <p:spPr>
          <a:xfrm>
            <a:off x="457200" y="1219200"/>
            <a:ext cx="4041648" cy="4937760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"/>
          </p:nvPr>
        </p:nvSpPr>
        <p:spPr>
          <a:xfrm>
            <a:off x="4632198" y="1216152"/>
            <a:ext cx="4041648" cy="4937760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914400"/>
          </a:xfrm>
        </p:spPr>
        <p:txBody>
          <a:bodyPr anchor="ctr"/>
          <a:lstStyle>
            <a:lvl1pPr>
              <a:defRPr/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85875"/>
            <a:ext cx="4040188" cy="685800"/>
          </a:xfrm>
          <a:noFill/>
          <a:ln>
            <a:noFill/>
          </a:ln>
        </p:spPr>
        <p:txBody>
          <a:bodyPr lIns="91440" anchor="b" anchorCtr="0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3"/>
          </p:nvPr>
        </p:nvSpPr>
        <p:spPr>
          <a:xfrm>
            <a:off x="4648200" y="1295400"/>
            <a:ext cx="4041775" cy="685800"/>
          </a:xfrm>
          <a:noFill/>
          <a:ln>
            <a:noFill/>
          </a:ln>
        </p:spPr>
        <p:txBody>
          <a:bodyPr lIns="91440" anchor="b" anchorCtr="0"/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323866-4C15-4B00-BC06-2E12190AD3CF}" type="datetimeFigureOut">
              <a:rPr lang="en-US" smtClean="0"/>
              <a:t>2/10/201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7112DE-9AFD-4604-9485-6EC6A0CD3D40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"/>
          </p:nvPr>
        </p:nvSpPr>
        <p:spPr>
          <a:xfrm>
            <a:off x="457200" y="2133600"/>
            <a:ext cx="4038600" cy="4038600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4"/>
          </p:nvPr>
        </p:nvSpPr>
        <p:spPr>
          <a:xfrm>
            <a:off x="4648200" y="2133600"/>
            <a:ext cx="4038600" cy="4038600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914400"/>
          </a:xfrm>
        </p:spPr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323866-4C15-4B00-BC06-2E12190AD3CF}" type="datetimeFigureOut">
              <a:rPr lang="en-US" smtClean="0"/>
              <a:t>2/10/201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7112DE-9AFD-4604-9485-6EC6A0CD3D40}" type="slidenum">
              <a:rPr lang="en-US" smtClean="0"/>
              <a:t>‹#›</a:t>
            </a:fld>
            <a:endParaRPr lang="en-US"/>
          </a:p>
        </p:txBody>
      </p:sp>
      <p:sp>
        <p:nvSpPr>
          <p:cNvPr id="6" name="Isosceles Triangle 5"/>
          <p:cNvSpPr>
            <a:spLocks noChangeAspect="1"/>
          </p:cNvSpPr>
          <p:nvPr/>
        </p:nvSpPr>
        <p:spPr>
          <a:xfrm rot="5400000">
            <a:off x="419100" y="6467475"/>
            <a:ext cx="190849" cy="120314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323866-4C15-4B00-BC06-2E12190AD3CF}" type="datetimeFigureOut">
              <a:rPr lang="en-US" smtClean="0"/>
              <a:t>2/10/201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7112DE-9AFD-4604-9485-6EC6A0CD3D4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Straight Connector 4"/>
          <p:cNvSpPr>
            <a:spLocks noChangeShapeType="1"/>
          </p:cNvSpPr>
          <p:nvPr/>
        </p:nvSpPr>
        <p:spPr bwMode="auto">
          <a:xfrm>
            <a:off x="457200" y="6353175"/>
            <a:ext cx="8229600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6" name="Isosceles Triangle 5"/>
          <p:cNvSpPr>
            <a:spLocks noChangeAspect="1"/>
          </p:cNvSpPr>
          <p:nvPr/>
        </p:nvSpPr>
        <p:spPr>
          <a:xfrm rot="5400000">
            <a:off x="419100" y="6467475"/>
            <a:ext cx="190849" cy="120314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24600" y="304800"/>
            <a:ext cx="2514600" cy="838200"/>
          </a:xfrm>
        </p:spPr>
        <p:txBody>
          <a:bodyPr anchor="b" anchorCtr="0">
            <a:noAutofit/>
          </a:bodyPr>
          <a:lstStyle>
            <a:lvl1pPr algn="l">
              <a:buNone/>
              <a:defRPr sz="20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6324600" y="1219200"/>
            <a:ext cx="2514600" cy="4843463"/>
          </a:xfrm>
        </p:spPr>
        <p:txBody>
          <a:bodyPr/>
          <a:lstStyle>
            <a:lvl1pPr marL="0" indent="0">
              <a:lnSpc>
                <a:spcPts val="2200"/>
              </a:lnSpc>
              <a:spcAft>
                <a:spcPts val="1000"/>
              </a:spcAft>
              <a:buNone/>
              <a:defRPr sz="1600">
                <a:solidFill>
                  <a:schemeClr val="tx2"/>
                </a:solidFill>
              </a:defRPr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323866-4C15-4B00-BC06-2E12190AD3CF}" type="datetimeFigureOut">
              <a:rPr lang="en-US" smtClean="0"/>
              <a:t>2/10/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7112DE-9AFD-4604-9485-6EC6A0CD3D4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Straight Connector 7"/>
          <p:cNvSpPr>
            <a:spLocks noChangeShapeType="1"/>
          </p:cNvSpPr>
          <p:nvPr/>
        </p:nvSpPr>
        <p:spPr bwMode="auto">
          <a:xfrm>
            <a:off x="457200" y="6353175"/>
            <a:ext cx="8229600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0" name="Straight Connector 9"/>
          <p:cNvSpPr>
            <a:spLocks noChangeShapeType="1"/>
          </p:cNvSpPr>
          <p:nvPr/>
        </p:nvSpPr>
        <p:spPr bwMode="auto">
          <a:xfrm rot="5400000">
            <a:off x="3160645" y="3324225"/>
            <a:ext cx="6035040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 dirty="0"/>
          </a:p>
        </p:txBody>
      </p:sp>
      <p:sp>
        <p:nvSpPr>
          <p:cNvPr id="9" name="Isosceles Triangle 8"/>
          <p:cNvSpPr>
            <a:spLocks noChangeAspect="1"/>
          </p:cNvSpPr>
          <p:nvPr/>
        </p:nvSpPr>
        <p:spPr>
          <a:xfrm rot="5400000">
            <a:off x="419100" y="6467475"/>
            <a:ext cx="190849" cy="120314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"/>
          </p:nvPr>
        </p:nvSpPr>
        <p:spPr>
          <a:xfrm>
            <a:off x="304800" y="304800"/>
            <a:ext cx="5715000" cy="5715000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00856"/>
            <a:ext cx="8229600" cy="674688"/>
          </a:xfrm>
          <a:ln>
            <a:solidFill>
              <a:schemeClr val="accent1"/>
            </a:solidFill>
          </a:ln>
        </p:spPr>
        <p:txBody>
          <a:bodyPr lIns="274320" anchor="ctr"/>
          <a:lstStyle>
            <a:lvl1pPr algn="r">
              <a:buNone/>
              <a:defRPr sz="2000" b="0">
                <a:solidFill>
                  <a:schemeClr val="tx1"/>
                </a:solidFill>
              </a:defRPr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57200" y="1905000"/>
            <a:ext cx="8229600" cy="4270248"/>
          </a:xfrm>
          <a:solidFill>
            <a:schemeClr val="tx1">
              <a:shade val="50000"/>
            </a:schemeClr>
          </a:solidFill>
          <a:ln>
            <a:noFill/>
          </a:ln>
          <a:effectLst/>
        </p:spPr>
        <p:txBody>
          <a:bodyPr/>
          <a:lstStyle>
            <a:lvl1pPr marL="0" indent="0">
              <a:spcBef>
                <a:spcPts val="600"/>
              </a:spcBef>
              <a:buNone/>
              <a:defRPr sz="3200"/>
            </a:lvl1pPr>
          </a:lstStyle>
          <a:p>
            <a:r>
              <a:rPr kumimoji="0" lang="en-US" smtClean="0"/>
              <a:t>Click icon to add picture</a:t>
            </a:r>
            <a:endParaRPr kumimoji="0"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219200"/>
            <a:ext cx="8229600" cy="533400"/>
          </a:xfrm>
        </p:spPr>
        <p:txBody>
          <a:bodyPr anchor="ctr" anchorCtr="0"/>
          <a:lstStyle>
            <a:lvl1pPr marL="0" indent="0" algn="l">
              <a:buFontTx/>
              <a:buNone/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323866-4C15-4B00-BC06-2E12190AD3CF}" type="datetimeFigureOut">
              <a:rPr lang="en-US" smtClean="0"/>
              <a:t>2/10/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7112DE-9AFD-4604-9485-6EC6A0CD3D4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Straight Connector 7"/>
          <p:cNvSpPr>
            <a:spLocks noChangeShapeType="1"/>
          </p:cNvSpPr>
          <p:nvPr/>
        </p:nvSpPr>
        <p:spPr bwMode="auto">
          <a:xfrm>
            <a:off x="457200" y="6353175"/>
            <a:ext cx="8229600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9" name="Isosceles Triangle 8"/>
          <p:cNvSpPr>
            <a:spLocks noChangeAspect="1"/>
          </p:cNvSpPr>
          <p:nvPr/>
        </p:nvSpPr>
        <p:spPr>
          <a:xfrm rot="5400000">
            <a:off x="419100" y="6467475"/>
            <a:ext cx="190849" cy="120314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0" name="Rectangle 9"/>
          <p:cNvSpPr/>
          <p:nvPr/>
        </p:nvSpPr>
        <p:spPr>
          <a:xfrm>
            <a:off x="457200" y="500856"/>
            <a:ext cx="182880" cy="685800"/>
          </a:xfrm>
          <a:prstGeom prst="rect">
            <a:avLst/>
          </a:prstGeom>
          <a:solidFill>
            <a:schemeClr val="accent1"/>
          </a:solidFill>
          <a:ln w="635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Placeholder 2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990600"/>
          </a:xfrm>
          <a:prstGeom prst="rect">
            <a:avLst/>
          </a:prstGeom>
        </p:spPr>
        <p:txBody>
          <a:bodyPr vert="horz" anchor="b" anchorCtr="0">
            <a:normAutofit/>
          </a:bodyPr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457200" y="1219200"/>
            <a:ext cx="8229600" cy="4910328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en-US" smtClean="0"/>
              <a:t>Click to edit Master text styles</a:t>
            </a:r>
          </a:p>
          <a:p>
            <a:pPr lvl="1" eaLnBrk="1" latinLnBrk="0" hangingPunct="1"/>
            <a:r>
              <a:rPr kumimoji="0" lang="en-US" smtClean="0"/>
              <a:t>Second level</a:t>
            </a:r>
          </a:p>
          <a:p>
            <a:pPr lvl="2" eaLnBrk="1" latinLnBrk="0" hangingPunct="1"/>
            <a:r>
              <a:rPr kumimoji="0" lang="en-US" smtClean="0"/>
              <a:t>Third level</a:t>
            </a:r>
          </a:p>
          <a:p>
            <a:pPr lvl="3" eaLnBrk="1" latinLnBrk="0" hangingPunct="1"/>
            <a:r>
              <a:rPr kumimoji="0" lang="en-US" smtClean="0"/>
              <a:t>Fourth level</a:t>
            </a:r>
          </a:p>
          <a:p>
            <a:pPr lvl="4" eaLnBrk="1" latinLnBrk="0" hangingPunct="1"/>
            <a:r>
              <a:rPr kumimoji="0" lang="en-US" smtClean="0"/>
              <a:t>Fifth level</a:t>
            </a:r>
            <a:endParaRPr kumimoji="0" lang="en-US"/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2"/>
          </p:nvPr>
        </p:nvSpPr>
        <p:spPr>
          <a:xfrm>
            <a:off x="6400800" y="6356350"/>
            <a:ext cx="2289048" cy="365760"/>
          </a:xfrm>
          <a:prstGeom prst="rect">
            <a:avLst/>
          </a:prstGeom>
        </p:spPr>
        <p:txBody>
          <a:bodyPr vert="horz"/>
          <a:lstStyle>
            <a:lvl1pPr algn="l" eaLnBrk="1" latinLnBrk="0" hangingPunct="1">
              <a:defRPr kumimoji="0" sz="1400">
                <a:solidFill>
                  <a:schemeClr val="tx2"/>
                </a:solidFill>
              </a:defRPr>
            </a:lvl1pPr>
          </a:lstStyle>
          <a:p>
            <a:fld id="{8B323866-4C15-4B00-BC06-2E12190AD3CF}" type="datetimeFigureOut">
              <a:rPr lang="en-US" smtClean="0"/>
              <a:t>2/10/201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898648" y="6356350"/>
            <a:ext cx="3505200" cy="365760"/>
          </a:xfrm>
          <a:prstGeom prst="rect">
            <a:avLst/>
          </a:prstGeom>
        </p:spPr>
        <p:txBody>
          <a:bodyPr vert="horz"/>
          <a:lstStyle>
            <a:lvl1pPr algn="r" eaLnBrk="1" latinLnBrk="0" hangingPunct="1">
              <a:defRPr kumimoji="0" sz="140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4"/>
          </p:nvPr>
        </p:nvSpPr>
        <p:spPr>
          <a:xfrm>
            <a:off x="612648" y="6356350"/>
            <a:ext cx="1981200" cy="365760"/>
          </a:xfrm>
          <a:prstGeom prst="rect">
            <a:avLst/>
          </a:prstGeom>
        </p:spPr>
        <p:txBody>
          <a:bodyPr vert="horz"/>
          <a:lstStyle>
            <a:lvl1pPr algn="l" eaLnBrk="1" latinLnBrk="0" hangingPunct="1">
              <a:defRPr kumimoji="0" sz="1400">
                <a:solidFill>
                  <a:schemeClr val="tx2"/>
                </a:solidFill>
              </a:defRPr>
            </a:lvl1pPr>
          </a:lstStyle>
          <a:p>
            <a:fld id="{FE7112DE-9AFD-4604-9485-6EC6A0CD3D40}" type="slidenum">
              <a:rPr lang="en-US" smtClean="0"/>
              <a:t>‹#›</a:t>
            </a:fld>
            <a:endParaRPr lang="en-US"/>
          </a:p>
        </p:txBody>
      </p:sp>
      <p:sp>
        <p:nvSpPr>
          <p:cNvPr id="28" name="Straight Connector 27"/>
          <p:cNvSpPr>
            <a:spLocks noChangeShapeType="1"/>
          </p:cNvSpPr>
          <p:nvPr/>
        </p:nvSpPr>
        <p:spPr bwMode="auto">
          <a:xfrm>
            <a:off x="457200" y="6353175"/>
            <a:ext cx="8229600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29" name="Straight Connector 28"/>
          <p:cNvSpPr>
            <a:spLocks noChangeShapeType="1"/>
          </p:cNvSpPr>
          <p:nvPr/>
        </p:nvSpPr>
        <p:spPr bwMode="auto">
          <a:xfrm>
            <a:off x="457200" y="1143000"/>
            <a:ext cx="8229600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0" name="Isosceles Triangle 9"/>
          <p:cNvSpPr>
            <a:spLocks noChangeAspect="1"/>
          </p:cNvSpPr>
          <p:nvPr/>
        </p:nvSpPr>
        <p:spPr>
          <a:xfrm rot="5400000">
            <a:off x="419100" y="6467475"/>
            <a:ext cx="190849" cy="120314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rtl="0" eaLnBrk="1" latinLnBrk="0" hangingPunct="1">
        <a:spcBef>
          <a:spcPct val="0"/>
        </a:spcBef>
        <a:buNone/>
        <a:defRPr kumimoji="0" sz="32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4320" indent="-274320" algn="l" rtl="0" eaLnBrk="1" latinLnBrk="0" hangingPunct="1">
        <a:spcBef>
          <a:spcPts val="600"/>
        </a:spcBef>
        <a:buClr>
          <a:schemeClr val="accent1"/>
        </a:buClr>
        <a:buSzPct val="76000"/>
        <a:buFont typeface="Wingdings 3"/>
        <a:buChar char=""/>
        <a:defRPr kumimoji="0"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indent="-274320" algn="l" rtl="0" eaLnBrk="1" latinLnBrk="0" hangingPunct="1">
        <a:spcBef>
          <a:spcPts val="500"/>
        </a:spcBef>
        <a:buClr>
          <a:schemeClr val="accent2"/>
        </a:buClr>
        <a:buSzPct val="76000"/>
        <a:buFont typeface="Wingdings 3"/>
        <a:buChar char=""/>
        <a:defRPr kumimoji="0" sz="2300" kern="1200">
          <a:solidFill>
            <a:schemeClr val="tx2"/>
          </a:solidFill>
          <a:latin typeface="+mn-lt"/>
          <a:ea typeface="+mn-ea"/>
          <a:cs typeface="+mn-cs"/>
        </a:defRPr>
      </a:lvl2pPr>
      <a:lvl3pPr marL="822960" indent="-228600" algn="l" rtl="0" eaLnBrk="1" latinLnBrk="0" hangingPunct="1">
        <a:spcBef>
          <a:spcPts val="500"/>
        </a:spcBef>
        <a:buClr>
          <a:schemeClr val="bg1">
            <a:shade val="50000"/>
          </a:schemeClr>
        </a:buClr>
        <a:buSzPct val="76000"/>
        <a:buFont typeface="Wingdings 3"/>
        <a:buChar char="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97280" indent="-228600" algn="l" rtl="0" eaLnBrk="1" latinLnBrk="0" hangingPunct="1">
        <a:spcBef>
          <a:spcPts val="400"/>
        </a:spcBef>
        <a:buClr>
          <a:schemeClr val="accent2">
            <a:shade val="75000"/>
          </a:schemeClr>
        </a:buClr>
        <a:buSzPct val="70000"/>
        <a:buFont typeface="Wingdings"/>
        <a:buChar char="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indent="-228600" algn="l" rtl="0" eaLnBrk="1" latinLnBrk="0" hangingPunct="1">
        <a:spcBef>
          <a:spcPts val="300"/>
        </a:spcBef>
        <a:buClr>
          <a:schemeClr val="accent2"/>
        </a:buClr>
        <a:buSzPct val="70000"/>
        <a:buFont typeface="Wingdings"/>
        <a:buChar char="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645920" indent="-182880" algn="l" rtl="0" eaLnBrk="1" latinLnBrk="0" hangingPunct="1">
        <a:spcBef>
          <a:spcPts val="300"/>
        </a:spcBef>
        <a:buClr>
          <a:srgbClr val="9FB8CD">
            <a:shade val="75000"/>
          </a:srgbClr>
        </a:buClr>
        <a:buSzPct val="75000"/>
        <a:buFont typeface="Wingdings 3"/>
        <a:buChar char=""/>
        <a:defRPr kumimoji="0" lang="en-US" sz="1600" kern="1200" smtClean="0">
          <a:solidFill>
            <a:schemeClr val="tx1"/>
          </a:solidFill>
          <a:latin typeface="+mn-lt"/>
          <a:ea typeface="+mn-ea"/>
          <a:cs typeface="+mn-cs"/>
        </a:defRPr>
      </a:lvl6pPr>
      <a:lvl7pPr marL="1828800" indent="-182880" algn="l" rtl="0" eaLnBrk="1" latinLnBrk="0" hangingPunct="1">
        <a:spcBef>
          <a:spcPts val="300"/>
        </a:spcBef>
        <a:buClr>
          <a:srgbClr val="727CA3">
            <a:shade val="75000"/>
          </a:srgbClr>
        </a:buClr>
        <a:buSzPct val="75000"/>
        <a:buFont typeface="Wingdings 3"/>
        <a:buChar char=""/>
        <a:defRPr kumimoji="0" lang="en-US" sz="1400" kern="1200" smtClean="0">
          <a:solidFill>
            <a:schemeClr val="tx1"/>
          </a:solidFill>
          <a:latin typeface="+mn-lt"/>
          <a:ea typeface="+mn-ea"/>
          <a:cs typeface="+mn-cs"/>
        </a:defRPr>
      </a:lvl7pPr>
      <a:lvl8pPr marL="2011680" indent="-182880" algn="l" rtl="0" eaLnBrk="1" latinLnBrk="0" hangingPunct="1">
        <a:spcBef>
          <a:spcPts val="300"/>
        </a:spcBef>
        <a:buClr>
          <a:prstClr val="white">
            <a:shade val="50000"/>
          </a:prstClr>
        </a:buClr>
        <a:buSzPct val="75000"/>
        <a:buFont typeface="Wingdings 3"/>
        <a:buChar char=""/>
        <a:defRPr kumimoji="0" lang="en-US" sz="1400" kern="1200" smtClean="0">
          <a:solidFill>
            <a:schemeClr val="tx1"/>
          </a:solidFill>
          <a:latin typeface="+mn-lt"/>
          <a:ea typeface="+mn-ea"/>
          <a:cs typeface="+mn-cs"/>
        </a:defRPr>
      </a:lvl8pPr>
      <a:lvl9pPr marL="2194560" indent="-182880" algn="l" rtl="0" eaLnBrk="1" latinLnBrk="0" hangingPunct="1">
        <a:spcBef>
          <a:spcPts val="300"/>
        </a:spcBef>
        <a:buClr>
          <a:srgbClr val="9FB8CD"/>
        </a:buClr>
        <a:buSzPct val="75000"/>
        <a:buFont typeface="Wingdings 3"/>
        <a:buChar char=""/>
        <a:defRPr kumimoji="0" lang="en-US" sz="1200" kern="1200" smtClea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6.xml"/><Relationship Id="rId7" Type="http://schemas.openxmlformats.org/officeDocument/2006/relationships/oleObject" Target="../embeddings/oleObject2.bin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7.jpeg"/><Relationship Id="rId4" Type="http://schemas.openxmlformats.org/officeDocument/2006/relationships/image" Target="../media/image2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12" Type="http://schemas.openxmlformats.org/officeDocument/2006/relationships/image" Target="../media/image38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png"/><Relationship Id="rId11" Type="http://schemas.openxmlformats.org/officeDocument/2006/relationships/image" Target="../media/image37.gif"/><Relationship Id="rId5" Type="http://schemas.openxmlformats.org/officeDocument/2006/relationships/image" Target="../media/image32.png"/><Relationship Id="rId10" Type="http://schemas.openxmlformats.org/officeDocument/2006/relationships/image" Target="../media/image36.png"/><Relationship Id="rId4" Type="http://schemas.openxmlformats.org/officeDocument/2006/relationships/image" Target="../media/image31.png"/><Relationship Id="rId9" Type="http://schemas.openxmlformats.org/officeDocument/2006/relationships/image" Target="../media/image3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tmp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jpeg"/><Relationship Id="rId5" Type="http://schemas.openxmlformats.org/officeDocument/2006/relationships/image" Target="../media/image5.png"/><Relationship Id="rId10" Type="http://schemas.openxmlformats.org/officeDocument/2006/relationships/image" Target="../media/image10.jpeg"/><Relationship Id="rId4" Type="http://schemas.openxmlformats.org/officeDocument/2006/relationships/image" Target="../media/image4.jpeg"/><Relationship Id="rId9" Type="http://schemas.openxmlformats.org/officeDocument/2006/relationships/image" Target="../media/image9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3" Type="http://schemas.openxmlformats.org/officeDocument/2006/relationships/image" Target="../media/image5.png"/><Relationship Id="rId7" Type="http://schemas.openxmlformats.org/officeDocument/2006/relationships/image" Target="../media/image19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image" Target="../media/image17.jpeg"/><Relationship Id="rId4" Type="http://schemas.openxmlformats.org/officeDocument/2006/relationships/image" Target="../media/image3.png"/><Relationship Id="rId9" Type="http://schemas.openxmlformats.org/officeDocument/2006/relationships/image" Target="../media/image21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19200" y="3657600"/>
            <a:ext cx="6858000" cy="1295400"/>
          </a:xfrm>
        </p:spPr>
        <p:txBody>
          <a:bodyPr>
            <a:noAutofit/>
          </a:bodyPr>
          <a:lstStyle/>
          <a:p>
            <a:r>
              <a:rPr lang="en-US" sz="2000" b="1" dirty="0" smtClean="0"/>
              <a:t>Bottlenecks on the Internet </a:t>
            </a:r>
            <a:br>
              <a:rPr lang="en-US" sz="2000" b="1" dirty="0" smtClean="0"/>
            </a:br>
            <a:r>
              <a:rPr lang="en-US" sz="2000" b="1" dirty="0" smtClean="0"/>
              <a:t>and Platform Competition</a:t>
            </a:r>
            <a:endParaRPr lang="en-US" sz="2000" dirty="0">
              <a:latin typeface="GillSans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en-US" dirty="0" smtClean="0"/>
              <a:t>Susan Athey, Stanford University and Microsoft Research</a:t>
            </a:r>
            <a:endParaRPr lang="en-US" dirty="0"/>
          </a:p>
          <a:p>
            <a:r>
              <a:rPr lang="en-US" i="1" dirty="0" smtClean="0"/>
              <a:t>Disclosure: The author consults for Microsoft.</a:t>
            </a:r>
          </a:p>
        </p:txBody>
      </p:sp>
    </p:spTree>
    <p:extLst>
      <p:ext uri="{BB962C8B-B14F-4D97-AF65-F5344CB8AC3E}">
        <p14:creationId xmlns:p14="http://schemas.microsoft.com/office/powerpoint/2010/main" val="822446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947860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152400" y="141327"/>
            <a:ext cx="8686800" cy="54447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1800" b="1" kern="120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Segoe UI" pitchFamily="34" charset="0"/>
                <a:cs typeface="Calibri"/>
              </a:defRPr>
            </a:lvl1pPr>
          </a:lstStyle>
          <a:p>
            <a:pPr marL="112713"/>
            <a:r>
              <a:rPr lang="en-US" sz="2000" b="0" dirty="0" smtClean="0">
                <a:solidFill>
                  <a:schemeClr val="tx1"/>
                </a:solidFill>
                <a:effectLst/>
              </a:rPr>
              <a:t>Search: Multi-sided markets, economies of scale and competition</a:t>
            </a:r>
            <a:endParaRPr lang="en-US" sz="2000" b="0" dirty="0">
              <a:solidFill>
                <a:schemeClr val="tx1"/>
              </a:solidFill>
              <a:effectLst/>
            </a:endParaRPr>
          </a:p>
        </p:txBody>
      </p:sp>
      <p:grpSp>
        <p:nvGrpSpPr>
          <p:cNvPr id="12" name="Group 11"/>
          <p:cNvGrpSpPr/>
          <p:nvPr>
            <p:custDataLst>
              <p:tags r:id="rId4"/>
            </p:custDataLst>
          </p:nvPr>
        </p:nvGrpSpPr>
        <p:grpSpPr>
          <a:xfrm>
            <a:off x="1698932" y="1185416"/>
            <a:ext cx="5746136" cy="4486110"/>
            <a:chOff x="1118616" y="1618552"/>
            <a:chExt cx="5746136" cy="4486110"/>
          </a:xfrm>
        </p:grpSpPr>
        <p:sp>
          <p:nvSpPr>
            <p:cNvPr id="13" name="Rectangle 12"/>
            <p:cNvSpPr/>
            <p:nvPr/>
          </p:nvSpPr>
          <p:spPr>
            <a:xfrm>
              <a:off x="1118616" y="3299163"/>
              <a:ext cx="1700784" cy="135730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5240" tIns="15240" rIns="15240" bIns="15240" numCol="1" spcCol="1270" anchor="ctr" anchorCtr="0">
              <a:noAutofit/>
            </a:bodyPr>
            <a:lstStyle/>
            <a:p>
              <a:pPr lvl="0" algn="ctr" defTabSz="533400"/>
              <a:r>
                <a:rPr lang="en-US" sz="1200" b="1" dirty="0"/>
                <a:t>More </a:t>
              </a:r>
              <a:r>
                <a:rPr lang="en-US" sz="1200" b="1" dirty="0" smtClean="0"/>
                <a:t>innovation,</a:t>
              </a:r>
            </a:p>
            <a:p>
              <a:pPr lvl="0" algn="ctr" defTabSz="533400"/>
              <a:r>
                <a:rPr lang="en-US" sz="1200" b="1" dirty="0" smtClean="0"/>
                <a:t>better user </a:t>
              </a:r>
            </a:p>
            <a:p>
              <a:pPr lvl="0" algn="ctr" defTabSz="533400"/>
              <a:r>
                <a:rPr lang="en-US" sz="1200" b="1" dirty="0" smtClean="0"/>
                <a:t>experience</a:t>
              </a:r>
              <a:endParaRPr lang="en-US" sz="1200" b="1" dirty="0"/>
            </a:p>
          </p:txBody>
        </p:sp>
        <p:sp>
          <p:nvSpPr>
            <p:cNvPr id="14" name="Freeform 13"/>
            <p:cNvSpPr/>
            <p:nvPr/>
          </p:nvSpPr>
          <p:spPr>
            <a:xfrm>
              <a:off x="2607535" y="2630811"/>
              <a:ext cx="985887" cy="924709"/>
            </a:xfrm>
            <a:custGeom>
              <a:avLst/>
              <a:gdLst>
                <a:gd name="connsiteX0" fmla="*/ 1216350 w 1625600"/>
                <a:gd name="connsiteY0" fmla="*/ 411723 h 1625600"/>
                <a:gd name="connsiteX1" fmla="*/ 1456181 w 1625600"/>
                <a:gd name="connsiteY1" fmla="*/ 339443 h 1625600"/>
                <a:gd name="connsiteX2" fmla="*/ 1544430 w 1625600"/>
                <a:gd name="connsiteY2" fmla="*/ 492294 h 1625600"/>
                <a:gd name="connsiteX3" fmla="*/ 1361918 w 1625600"/>
                <a:gd name="connsiteY3" fmla="*/ 663854 h 1625600"/>
                <a:gd name="connsiteX4" fmla="*/ 1361918 w 1625600"/>
                <a:gd name="connsiteY4" fmla="*/ 961747 h 1625600"/>
                <a:gd name="connsiteX5" fmla="*/ 1544430 w 1625600"/>
                <a:gd name="connsiteY5" fmla="*/ 1133306 h 1625600"/>
                <a:gd name="connsiteX6" fmla="*/ 1456181 w 1625600"/>
                <a:gd name="connsiteY6" fmla="*/ 1286157 h 1625600"/>
                <a:gd name="connsiteX7" fmla="*/ 1216350 w 1625600"/>
                <a:gd name="connsiteY7" fmla="*/ 1213877 h 1625600"/>
                <a:gd name="connsiteX8" fmla="*/ 958367 w 1625600"/>
                <a:gd name="connsiteY8" fmla="*/ 1362823 h 1625600"/>
                <a:gd name="connsiteX9" fmla="*/ 901049 w 1625600"/>
                <a:gd name="connsiteY9" fmla="*/ 1606663 h 1625600"/>
                <a:gd name="connsiteX10" fmla="*/ 724551 w 1625600"/>
                <a:gd name="connsiteY10" fmla="*/ 1606663 h 1625600"/>
                <a:gd name="connsiteX11" fmla="*/ 667232 w 1625600"/>
                <a:gd name="connsiteY11" fmla="*/ 1362823 h 1625600"/>
                <a:gd name="connsiteX12" fmla="*/ 409249 w 1625600"/>
                <a:gd name="connsiteY12" fmla="*/ 1213877 h 1625600"/>
                <a:gd name="connsiteX13" fmla="*/ 169419 w 1625600"/>
                <a:gd name="connsiteY13" fmla="*/ 1286157 h 1625600"/>
                <a:gd name="connsiteX14" fmla="*/ 81170 w 1625600"/>
                <a:gd name="connsiteY14" fmla="*/ 1133306 h 1625600"/>
                <a:gd name="connsiteX15" fmla="*/ 263682 w 1625600"/>
                <a:gd name="connsiteY15" fmla="*/ 961746 h 1625600"/>
                <a:gd name="connsiteX16" fmla="*/ 263682 w 1625600"/>
                <a:gd name="connsiteY16" fmla="*/ 663853 h 1625600"/>
                <a:gd name="connsiteX17" fmla="*/ 81170 w 1625600"/>
                <a:gd name="connsiteY17" fmla="*/ 492294 h 1625600"/>
                <a:gd name="connsiteX18" fmla="*/ 169419 w 1625600"/>
                <a:gd name="connsiteY18" fmla="*/ 339443 h 1625600"/>
                <a:gd name="connsiteX19" fmla="*/ 409250 w 1625600"/>
                <a:gd name="connsiteY19" fmla="*/ 411723 h 1625600"/>
                <a:gd name="connsiteX20" fmla="*/ 667233 w 1625600"/>
                <a:gd name="connsiteY20" fmla="*/ 262777 h 1625600"/>
                <a:gd name="connsiteX21" fmla="*/ 724551 w 1625600"/>
                <a:gd name="connsiteY21" fmla="*/ 18937 h 1625600"/>
                <a:gd name="connsiteX22" fmla="*/ 901049 w 1625600"/>
                <a:gd name="connsiteY22" fmla="*/ 18937 h 1625600"/>
                <a:gd name="connsiteX23" fmla="*/ 958368 w 1625600"/>
                <a:gd name="connsiteY23" fmla="*/ 262777 h 1625600"/>
                <a:gd name="connsiteX24" fmla="*/ 1216351 w 1625600"/>
                <a:gd name="connsiteY24" fmla="*/ 411723 h 1625600"/>
                <a:gd name="connsiteX25" fmla="*/ 1216350 w 1625600"/>
                <a:gd name="connsiteY25" fmla="*/ 411723 h 1625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625600" h="1625600">
                  <a:moveTo>
                    <a:pt x="1216350" y="411723"/>
                  </a:moveTo>
                  <a:lnTo>
                    <a:pt x="1456181" y="339443"/>
                  </a:lnTo>
                  <a:lnTo>
                    <a:pt x="1544430" y="492294"/>
                  </a:lnTo>
                  <a:lnTo>
                    <a:pt x="1361918" y="663854"/>
                  </a:lnTo>
                  <a:cubicBezTo>
                    <a:pt x="1388374" y="761389"/>
                    <a:pt x="1388374" y="864211"/>
                    <a:pt x="1361918" y="961747"/>
                  </a:cubicBezTo>
                  <a:lnTo>
                    <a:pt x="1544430" y="1133306"/>
                  </a:lnTo>
                  <a:lnTo>
                    <a:pt x="1456181" y="1286157"/>
                  </a:lnTo>
                  <a:lnTo>
                    <a:pt x="1216350" y="1213877"/>
                  </a:lnTo>
                  <a:cubicBezTo>
                    <a:pt x="1145110" y="1285556"/>
                    <a:pt x="1056063" y="1336967"/>
                    <a:pt x="958367" y="1362823"/>
                  </a:cubicBezTo>
                  <a:lnTo>
                    <a:pt x="901049" y="1606663"/>
                  </a:lnTo>
                  <a:lnTo>
                    <a:pt x="724551" y="1606663"/>
                  </a:lnTo>
                  <a:lnTo>
                    <a:pt x="667232" y="1362823"/>
                  </a:lnTo>
                  <a:cubicBezTo>
                    <a:pt x="569536" y="1336967"/>
                    <a:pt x="480489" y="1285556"/>
                    <a:pt x="409249" y="1213877"/>
                  </a:cubicBezTo>
                  <a:lnTo>
                    <a:pt x="169419" y="1286157"/>
                  </a:lnTo>
                  <a:lnTo>
                    <a:pt x="81170" y="1133306"/>
                  </a:lnTo>
                  <a:lnTo>
                    <a:pt x="263682" y="961746"/>
                  </a:lnTo>
                  <a:cubicBezTo>
                    <a:pt x="237226" y="864211"/>
                    <a:pt x="237226" y="761389"/>
                    <a:pt x="263682" y="663853"/>
                  </a:cubicBezTo>
                  <a:lnTo>
                    <a:pt x="81170" y="492294"/>
                  </a:lnTo>
                  <a:lnTo>
                    <a:pt x="169419" y="339443"/>
                  </a:lnTo>
                  <a:lnTo>
                    <a:pt x="409250" y="411723"/>
                  </a:lnTo>
                  <a:cubicBezTo>
                    <a:pt x="480490" y="340044"/>
                    <a:pt x="569537" y="288633"/>
                    <a:pt x="667233" y="262777"/>
                  </a:cubicBezTo>
                  <a:lnTo>
                    <a:pt x="724551" y="18937"/>
                  </a:lnTo>
                  <a:lnTo>
                    <a:pt x="901049" y="18937"/>
                  </a:lnTo>
                  <a:lnTo>
                    <a:pt x="958368" y="262777"/>
                  </a:lnTo>
                  <a:cubicBezTo>
                    <a:pt x="1056064" y="288633"/>
                    <a:pt x="1145111" y="340044"/>
                    <a:pt x="1216351" y="411723"/>
                  </a:cubicBezTo>
                  <a:lnTo>
                    <a:pt x="1216350" y="411723"/>
                  </a:lnTo>
                  <a:close/>
                </a:path>
              </a:pathLst>
            </a:custGeom>
            <a:scene3d>
              <a:camera prst="orthographicFront"/>
              <a:lightRig rig="flat" dir="t"/>
            </a:scene3d>
            <a:sp3d prstMaterial="plastic">
              <a:bevelT w="120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23220" tIns="425693" rIns="423220" bIns="425693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1100" b="1" kern="1200" dirty="0"/>
            </a:p>
          </p:txBody>
        </p:sp>
        <p:sp>
          <p:nvSpPr>
            <p:cNvPr id="15" name="Freeform 14"/>
            <p:cNvSpPr/>
            <p:nvPr/>
          </p:nvSpPr>
          <p:spPr>
            <a:xfrm>
              <a:off x="3054739" y="2751860"/>
              <a:ext cx="2172473" cy="2048740"/>
            </a:xfrm>
            <a:custGeom>
              <a:avLst/>
              <a:gdLst>
                <a:gd name="connsiteX0" fmla="*/ 1191775 w 1592756"/>
                <a:gd name="connsiteY0" fmla="*/ 403405 h 1592756"/>
                <a:gd name="connsiteX1" fmla="*/ 1426760 w 1592756"/>
                <a:gd name="connsiteY1" fmla="*/ 332584 h 1592756"/>
                <a:gd name="connsiteX2" fmla="*/ 1513226 w 1592756"/>
                <a:gd name="connsiteY2" fmla="*/ 482348 h 1592756"/>
                <a:gd name="connsiteX3" fmla="*/ 1334401 w 1592756"/>
                <a:gd name="connsiteY3" fmla="*/ 650441 h 1592756"/>
                <a:gd name="connsiteX4" fmla="*/ 1334401 w 1592756"/>
                <a:gd name="connsiteY4" fmla="*/ 942315 h 1592756"/>
                <a:gd name="connsiteX5" fmla="*/ 1513226 w 1592756"/>
                <a:gd name="connsiteY5" fmla="*/ 1110408 h 1592756"/>
                <a:gd name="connsiteX6" fmla="*/ 1426760 w 1592756"/>
                <a:gd name="connsiteY6" fmla="*/ 1260172 h 1592756"/>
                <a:gd name="connsiteX7" fmla="*/ 1191775 w 1592756"/>
                <a:gd name="connsiteY7" fmla="*/ 1189351 h 1592756"/>
                <a:gd name="connsiteX8" fmla="*/ 939004 w 1592756"/>
                <a:gd name="connsiteY8" fmla="*/ 1335288 h 1592756"/>
                <a:gd name="connsiteX9" fmla="*/ 882844 w 1592756"/>
                <a:gd name="connsiteY9" fmla="*/ 1574202 h 1592756"/>
                <a:gd name="connsiteX10" fmla="*/ 709912 w 1592756"/>
                <a:gd name="connsiteY10" fmla="*/ 1574202 h 1592756"/>
                <a:gd name="connsiteX11" fmla="*/ 653752 w 1592756"/>
                <a:gd name="connsiteY11" fmla="*/ 1335288 h 1592756"/>
                <a:gd name="connsiteX12" fmla="*/ 400981 w 1592756"/>
                <a:gd name="connsiteY12" fmla="*/ 1189351 h 1592756"/>
                <a:gd name="connsiteX13" fmla="*/ 165996 w 1592756"/>
                <a:gd name="connsiteY13" fmla="*/ 1260172 h 1592756"/>
                <a:gd name="connsiteX14" fmla="*/ 79530 w 1592756"/>
                <a:gd name="connsiteY14" fmla="*/ 1110408 h 1592756"/>
                <a:gd name="connsiteX15" fmla="*/ 258355 w 1592756"/>
                <a:gd name="connsiteY15" fmla="*/ 942315 h 1592756"/>
                <a:gd name="connsiteX16" fmla="*/ 258355 w 1592756"/>
                <a:gd name="connsiteY16" fmla="*/ 650441 h 1592756"/>
                <a:gd name="connsiteX17" fmla="*/ 79530 w 1592756"/>
                <a:gd name="connsiteY17" fmla="*/ 482348 h 1592756"/>
                <a:gd name="connsiteX18" fmla="*/ 165996 w 1592756"/>
                <a:gd name="connsiteY18" fmla="*/ 332584 h 1592756"/>
                <a:gd name="connsiteX19" fmla="*/ 400981 w 1592756"/>
                <a:gd name="connsiteY19" fmla="*/ 403405 h 1592756"/>
                <a:gd name="connsiteX20" fmla="*/ 653752 w 1592756"/>
                <a:gd name="connsiteY20" fmla="*/ 257468 h 1592756"/>
                <a:gd name="connsiteX21" fmla="*/ 709912 w 1592756"/>
                <a:gd name="connsiteY21" fmla="*/ 18554 h 1592756"/>
                <a:gd name="connsiteX22" fmla="*/ 882844 w 1592756"/>
                <a:gd name="connsiteY22" fmla="*/ 18554 h 1592756"/>
                <a:gd name="connsiteX23" fmla="*/ 939004 w 1592756"/>
                <a:gd name="connsiteY23" fmla="*/ 257468 h 1592756"/>
                <a:gd name="connsiteX24" fmla="*/ 1191775 w 1592756"/>
                <a:gd name="connsiteY24" fmla="*/ 403405 h 1592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592756" h="1592756">
                  <a:moveTo>
                    <a:pt x="1025173" y="402893"/>
                  </a:moveTo>
                  <a:lnTo>
                    <a:pt x="1195533" y="297380"/>
                  </a:lnTo>
                  <a:lnTo>
                    <a:pt x="1295376" y="397223"/>
                  </a:lnTo>
                  <a:lnTo>
                    <a:pt x="1189863" y="567584"/>
                  </a:lnTo>
                  <a:cubicBezTo>
                    <a:pt x="1230502" y="637475"/>
                    <a:pt x="1251792" y="716930"/>
                    <a:pt x="1251543" y="797777"/>
                  </a:cubicBezTo>
                  <a:lnTo>
                    <a:pt x="1428100" y="892558"/>
                  </a:lnTo>
                  <a:lnTo>
                    <a:pt x="1391556" y="1028945"/>
                  </a:lnTo>
                  <a:lnTo>
                    <a:pt x="1191263" y="1022749"/>
                  </a:lnTo>
                  <a:cubicBezTo>
                    <a:pt x="1151054" y="1092889"/>
                    <a:pt x="1092889" y="1151054"/>
                    <a:pt x="1022749" y="1191262"/>
                  </a:cubicBezTo>
                  <a:lnTo>
                    <a:pt x="1028945" y="1391556"/>
                  </a:lnTo>
                  <a:lnTo>
                    <a:pt x="892558" y="1428101"/>
                  </a:lnTo>
                  <a:lnTo>
                    <a:pt x="797778" y="1251543"/>
                  </a:lnTo>
                  <a:cubicBezTo>
                    <a:pt x="716930" y="1251791"/>
                    <a:pt x="637475" y="1230502"/>
                    <a:pt x="567583" y="1189863"/>
                  </a:cubicBezTo>
                  <a:lnTo>
                    <a:pt x="397223" y="1295376"/>
                  </a:lnTo>
                  <a:lnTo>
                    <a:pt x="297380" y="1195533"/>
                  </a:lnTo>
                  <a:lnTo>
                    <a:pt x="402893" y="1025172"/>
                  </a:lnTo>
                  <a:cubicBezTo>
                    <a:pt x="362254" y="955281"/>
                    <a:pt x="340964" y="875826"/>
                    <a:pt x="341213" y="794979"/>
                  </a:cubicBezTo>
                  <a:lnTo>
                    <a:pt x="164656" y="700198"/>
                  </a:lnTo>
                  <a:lnTo>
                    <a:pt x="201200" y="563811"/>
                  </a:lnTo>
                  <a:lnTo>
                    <a:pt x="401493" y="570007"/>
                  </a:lnTo>
                  <a:cubicBezTo>
                    <a:pt x="441702" y="499867"/>
                    <a:pt x="499867" y="441702"/>
                    <a:pt x="570007" y="401494"/>
                  </a:cubicBezTo>
                  <a:lnTo>
                    <a:pt x="563811" y="201200"/>
                  </a:lnTo>
                  <a:lnTo>
                    <a:pt x="700198" y="164655"/>
                  </a:lnTo>
                  <a:lnTo>
                    <a:pt x="794978" y="341213"/>
                  </a:lnTo>
                  <a:cubicBezTo>
                    <a:pt x="875826" y="340965"/>
                    <a:pt x="955281" y="362254"/>
                    <a:pt x="1025173" y="402893"/>
                  </a:cubicBezTo>
                  <a:close/>
                </a:path>
              </a:pathLst>
            </a:custGeom>
            <a:solidFill>
              <a:srgbClr val="FF0000"/>
            </a:solidFill>
            <a:scene3d>
              <a:camera prst="orthographicFront"/>
              <a:lightRig rig="flat" dir="t"/>
            </a:scene3d>
            <a:sp3d prstMaterial="plastic">
              <a:bevelT w="120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42291" tIns="542290" rIns="542289" bIns="542290" numCol="1" spcCol="1270" anchor="ctr" anchorCtr="0">
              <a:noAutofit/>
            </a:bodyPr>
            <a:lstStyle/>
            <a:p>
              <a:pPr lvl="0" algn="ctr"/>
              <a:r>
                <a:rPr lang="en-US" sz="1200" b="1" dirty="0" smtClean="0"/>
                <a:t>More innovation, more investment, more users</a:t>
              </a:r>
              <a:endParaRPr lang="en-US" sz="1200" b="1" dirty="0"/>
            </a:p>
          </p:txBody>
        </p:sp>
        <p:sp>
          <p:nvSpPr>
            <p:cNvPr id="18" name="Freeform 17"/>
            <p:cNvSpPr/>
            <p:nvPr/>
          </p:nvSpPr>
          <p:spPr>
            <a:xfrm rot="375371">
              <a:off x="3273413" y="2084771"/>
              <a:ext cx="985887" cy="924709"/>
            </a:xfrm>
            <a:custGeom>
              <a:avLst/>
              <a:gdLst>
                <a:gd name="connsiteX0" fmla="*/ 1216350 w 1625600"/>
                <a:gd name="connsiteY0" fmla="*/ 411723 h 1625600"/>
                <a:gd name="connsiteX1" fmla="*/ 1456181 w 1625600"/>
                <a:gd name="connsiteY1" fmla="*/ 339443 h 1625600"/>
                <a:gd name="connsiteX2" fmla="*/ 1544430 w 1625600"/>
                <a:gd name="connsiteY2" fmla="*/ 492294 h 1625600"/>
                <a:gd name="connsiteX3" fmla="*/ 1361918 w 1625600"/>
                <a:gd name="connsiteY3" fmla="*/ 663854 h 1625600"/>
                <a:gd name="connsiteX4" fmla="*/ 1361918 w 1625600"/>
                <a:gd name="connsiteY4" fmla="*/ 961747 h 1625600"/>
                <a:gd name="connsiteX5" fmla="*/ 1544430 w 1625600"/>
                <a:gd name="connsiteY5" fmla="*/ 1133306 h 1625600"/>
                <a:gd name="connsiteX6" fmla="*/ 1456181 w 1625600"/>
                <a:gd name="connsiteY6" fmla="*/ 1286157 h 1625600"/>
                <a:gd name="connsiteX7" fmla="*/ 1216350 w 1625600"/>
                <a:gd name="connsiteY7" fmla="*/ 1213877 h 1625600"/>
                <a:gd name="connsiteX8" fmla="*/ 958367 w 1625600"/>
                <a:gd name="connsiteY8" fmla="*/ 1362823 h 1625600"/>
                <a:gd name="connsiteX9" fmla="*/ 901049 w 1625600"/>
                <a:gd name="connsiteY9" fmla="*/ 1606663 h 1625600"/>
                <a:gd name="connsiteX10" fmla="*/ 724551 w 1625600"/>
                <a:gd name="connsiteY10" fmla="*/ 1606663 h 1625600"/>
                <a:gd name="connsiteX11" fmla="*/ 667232 w 1625600"/>
                <a:gd name="connsiteY11" fmla="*/ 1362823 h 1625600"/>
                <a:gd name="connsiteX12" fmla="*/ 409249 w 1625600"/>
                <a:gd name="connsiteY12" fmla="*/ 1213877 h 1625600"/>
                <a:gd name="connsiteX13" fmla="*/ 169419 w 1625600"/>
                <a:gd name="connsiteY13" fmla="*/ 1286157 h 1625600"/>
                <a:gd name="connsiteX14" fmla="*/ 81170 w 1625600"/>
                <a:gd name="connsiteY14" fmla="*/ 1133306 h 1625600"/>
                <a:gd name="connsiteX15" fmla="*/ 263682 w 1625600"/>
                <a:gd name="connsiteY15" fmla="*/ 961746 h 1625600"/>
                <a:gd name="connsiteX16" fmla="*/ 263682 w 1625600"/>
                <a:gd name="connsiteY16" fmla="*/ 663853 h 1625600"/>
                <a:gd name="connsiteX17" fmla="*/ 81170 w 1625600"/>
                <a:gd name="connsiteY17" fmla="*/ 492294 h 1625600"/>
                <a:gd name="connsiteX18" fmla="*/ 169419 w 1625600"/>
                <a:gd name="connsiteY18" fmla="*/ 339443 h 1625600"/>
                <a:gd name="connsiteX19" fmla="*/ 409250 w 1625600"/>
                <a:gd name="connsiteY19" fmla="*/ 411723 h 1625600"/>
                <a:gd name="connsiteX20" fmla="*/ 667233 w 1625600"/>
                <a:gd name="connsiteY20" fmla="*/ 262777 h 1625600"/>
                <a:gd name="connsiteX21" fmla="*/ 724551 w 1625600"/>
                <a:gd name="connsiteY21" fmla="*/ 18937 h 1625600"/>
                <a:gd name="connsiteX22" fmla="*/ 901049 w 1625600"/>
                <a:gd name="connsiteY22" fmla="*/ 18937 h 1625600"/>
                <a:gd name="connsiteX23" fmla="*/ 958368 w 1625600"/>
                <a:gd name="connsiteY23" fmla="*/ 262777 h 1625600"/>
                <a:gd name="connsiteX24" fmla="*/ 1216351 w 1625600"/>
                <a:gd name="connsiteY24" fmla="*/ 411723 h 1625600"/>
                <a:gd name="connsiteX25" fmla="*/ 1216350 w 1625600"/>
                <a:gd name="connsiteY25" fmla="*/ 411723 h 1625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625600" h="1625600">
                  <a:moveTo>
                    <a:pt x="1216350" y="411723"/>
                  </a:moveTo>
                  <a:lnTo>
                    <a:pt x="1456181" y="339443"/>
                  </a:lnTo>
                  <a:lnTo>
                    <a:pt x="1544430" y="492294"/>
                  </a:lnTo>
                  <a:lnTo>
                    <a:pt x="1361918" y="663854"/>
                  </a:lnTo>
                  <a:cubicBezTo>
                    <a:pt x="1388374" y="761389"/>
                    <a:pt x="1388374" y="864211"/>
                    <a:pt x="1361918" y="961747"/>
                  </a:cubicBezTo>
                  <a:lnTo>
                    <a:pt x="1544430" y="1133306"/>
                  </a:lnTo>
                  <a:lnTo>
                    <a:pt x="1456181" y="1286157"/>
                  </a:lnTo>
                  <a:lnTo>
                    <a:pt x="1216350" y="1213877"/>
                  </a:lnTo>
                  <a:cubicBezTo>
                    <a:pt x="1145110" y="1285556"/>
                    <a:pt x="1056063" y="1336967"/>
                    <a:pt x="958367" y="1362823"/>
                  </a:cubicBezTo>
                  <a:lnTo>
                    <a:pt x="901049" y="1606663"/>
                  </a:lnTo>
                  <a:lnTo>
                    <a:pt x="724551" y="1606663"/>
                  </a:lnTo>
                  <a:lnTo>
                    <a:pt x="667232" y="1362823"/>
                  </a:lnTo>
                  <a:cubicBezTo>
                    <a:pt x="569536" y="1336967"/>
                    <a:pt x="480489" y="1285556"/>
                    <a:pt x="409249" y="1213877"/>
                  </a:cubicBezTo>
                  <a:lnTo>
                    <a:pt x="169419" y="1286157"/>
                  </a:lnTo>
                  <a:lnTo>
                    <a:pt x="81170" y="1133306"/>
                  </a:lnTo>
                  <a:lnTo>
                    <a:pt x="263682" y="961746"/>
                  </a:lnTo>
                  <a:cubicBezTo>
                    <a:pt x="237226" y="864211"/>
                    <a:pt x="237226" y="761389"/>
                    <a:pt x="263682" y="663853"/>
                  </a:cubicBezTo>
                  <a:lnTo>
                    <a:pt x="81170" y="492294"/>
                  </a:lnTo>
                  <a:lnTo>
                    <a:pt x="169419" y="339443"/>
                  </a:lnTo>
                  <a:lnTo>
                    <a:pt x="409250" y="411723"/>
                  </a:lnTo>
                  <a:cubicBezTo>
                    <a:pt x="480490" y="340044"/>
                    <a:pt x="569537" y="288633"/>
                    <a:pt x="667233" y="262777"/>
                  </a:cubicBezTo>
                  <a:lnTo>
                    <a:pt x="724551" y="18937"/>
                  </a:lnTo>
                  <a:lnTo>
                    <a:pt x="901049" y="18937"/>
                  </a:lnTo>
                  <a:lnTo>
                    <a:pt x="958368" y="262777"/>
                  </a:lnTo>
                  <a:cubicBezTo>
                    <a:pt x="1056064" y="288633"/>
                    <a:pt x="1145111" y="340044"/>
                    <a:pt x="1216351" y="411723"/>
                  </a:cubicBezTo>
                  <a:lnTo>
                    <a:pt x="1216350" y="411723"/>
                  </a:lnTo>
                  <a:close/>
                </a:path>
              </a:pathLst>
            </a:custGeom>
            <a:scene3d>
              <a:camera prst="orthographicFront"/>
              <a:lightRig rig="flat" dir="t"/>
            </a:scene3d>
            <a:sp3d prstMaterial="plastic">
              <a:bevelT w="120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23220" tIns="425693" rIns="423220" bIns="425693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1100" b="1" kern="1200" dirty="0"/>
            </a:p>
          </p:txBody>
        </p:sp>
        <p:sp>
          <p:nvSpPr>
            <p:cNvPr id="19" name="Freeform 18"/>
            <p:cNvSpPr/>
            <p:nvPr/>
          </p:nvSpPr>
          <p:spPr>
            <a:xfrm rot="20688832">
              <a:off x="4294452" y="2179991"/>
              <a:ext cx="985887" cy="924709"/>
            </a:xfrm>
            <a:custGeom>
              <a:avLst/>
              <a:gdLst>
                <a:gd name="connsiteX0" fmla="*/ 1216350 w 1625600"/>
                <a:gd name="connsiteY0" fmla="*/ 411723 h 1625600"/>
                <a:gd name="connsiteX1" fmla="*/ 1456181 w 1625600"/>
                <a:gd name="connsiteY1" fmla="*/ 339443 h 1625600"/>
                <a:gd name="connsiteX2" fmla="*/ 1544430 w 1625600"/>
                <a:gd name="connsiteY2" fmla="*/ 492294 h 1625600"/>
                <a:gd name="connsiteX3" fmla="*/ 1361918 w 1625600"/>
                <a:gd name="connsiteY3" fmla="*/ 663854 h 1625600"/>
                <a:gd name="connsiteX4" fmla="*/ 1361918 w 1625600"/>
                <a:gd name="connsiteY4" fmla="*/ 961747 h 1625600"/>
                <a:gd name="connsiteX5" fmla="*/ 1544430 w 1625600"/>
                <a:gd name="connsiteY5" fmla="*/ 1133306 h 1625600"/>
                <a:gd name="connsiteX6" fmla="*/ 1456181 w 1625600"/>
                <a:gd name="connsiteY6" fmla="*/ 1286157 h 1625600"/>
                <a:gd name="connsiteX7" fmla="*/ 1216350 w 1625600"/>
                <a:gd name="connsiteY7" fmla="*/ 1213877 h 1625600"/>
                <a:gd name="connsiteX8" fmla="*/ 958367 w 1625600"/>
                <a:gd name="connsiteY8" fmla="*/ 1362823 h 1625600"/>
                <a:gd name="connsiteX9" fmla="*/ 901049 w 1625600"/>
                <a:gd name="connsiteY9" fmla="*/ 1606663 h 1625600"/>
                <a:gd name="connsiteX10" fmla="*/ 724551 w 1625600"/>
                <a:gd name="connsiteY10" fmla="*/ 1606663 h 1625600"/>
                <a:gd name="connsiteX11" fmla="*/ 667232 w 1625600"/>
                <a:gd name="connsiteY11" fmla="*/ 1362823 h 1625600"/>
                <a:gd name="connsiteX12" fmla="*/ 409249 w 1625600"/>
                <a:gd name="connsiteY12" fmla="*/ 1213877 h 1625600"/>
                <a:gd name="connsiteX13" fmla="*/ 169419 w 1625600"/>
                <a:gd name="connsiteY13" fmla="*/ 1286157 h 1625600"/>
                <a:gd name="connsiteX14" fmla="*/ 81170 w 1625600"/>
                <a:gd name="connsiteY14" fmla="*/ 1133306 h 1625600"/>
                <a:gd name="connsiteX15" fmla="*/ 263682 w 1625600"/>
                <a:gd name="connsiteY15" fmla="*/ 961746 h 1625600"/>
                <a:gd name="connsiteX16" fmla="*/ 263682 w 1625600"/>
                <a:gd name="connsiteY16" fmla="*/ 663853 h 1625600"/>
                <a:gd name="connsiteX17" fmla="*/ 81170 w 1625600"/>
                <a:gd name="connsiteY17" fmla="*/ 492294 h 1625600"/>
                <a:gd name="connsiteX18" fmla="*/ 169419 w 1625600"/>
                <a:gd name="connsiteY18" fmla="*/ 339443 h 1625600"/>
                <a:gd name="connsiteX19" fmla="*/ 409250 w 1625600"/>
                <a:gd name="connsiteY19" fmla="*/ 411723 h 1625600"/>
                <a:gd name="connsiteX20" fmla="*/ 667233 w 1625600"/>
                <a:gd name="connsiteY20" fmla="*/ 262777 h 1625600"/>
                <a:gd name="connsiteX21" fmla="*/ 724551 w 1625600"/>
                <a:gd name="connsiteY21" fmla="*/ 18937 h 1625600"/>
                <a:gd name="connsiteX22" fmla="*/ 901049 w 1625600"/>
                <a:gd name="connsiteY22" fmla="*/ 18937 h 1625600"/>
                <a:gd name="connsiteX23" fmla="*/ 958368 w 1625600"/>
                <a:gd name="connsiteY23" fmla="*/ 262777 h 1625600"/>
                <a:gd name="connsiteX24" fmla="*/ 1216351 w 1625600"/>
                <a:gd name="connsiteY24" fmla="*/ 411723 h 1625600"/>
                <a:gd name="connsiteX25" fmla="*/ 1216350 w 1625600"/>
                <a:gd name="connsiteY25" fmla="*/ 411723 h 1625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625600" h="1625600">
                  <a:moveTo>
                    <a:pt x="1216350" y="411723"/>
                  </a:moveTo>
                  <a:lnTo>
                    <a:pt x="1456181" y="339443"/>
                  </a:lnTo>
                  <a:lnTo>
                    <a:pt x="1544430" y="492294"/>
                  </a:lnTo>
                  <a:lnTo>
                    <a:pt x="1361918" y="663854"/>
                  </a:lnTo>
                  <a:cubicBezTo>
                    <a:pt x="1388374" y="761389"/>
                    <a:pt x="1388374" y="864211"/>
                    <a:pt x="1361918" y="961747"/>
                  </a:cubicBezTo>
                  <a:lnTo>
                    <a:pt x="1544430" y="1133306"/>
                  </a:lnTo>
                  <a:lnTo>
                    <a:pt x="1456181" y="1286157"/>
                  </a:lnTo>
                  <a:lnTo>
                    <a:pt x="1216350" y="1213877"/>
                  </a:lnTo>
                  <a:cubicBezTo>
                    <a:pt x="1145110" y="1285556"/>
                    <a:pt x="1056063" y="1336967"/>
                    <a:pt x="958367" y="1362823"/>
                  </a:cubicBezTo>
                  <a:lnTo>
                    <a:pt x="901049" y="1606663"/>
                  </a:lnTo>
                  <a:lnTo>
                    <a:pt x="724551" y="1606663"/>
                  </a:lnTo>
                  <a:lnTo>
                    <a:pt x="667232" y="1362823"/>
                  </a:lnTo>
                  <a:cubicBezTo>
                    <a:pt x="569536" y="1336967"/>
                    <a:pt x="480489" y="1285556"/>
                    <a:pt x="409249" y="1213877"/>
                  </a:cubicBezTo>
                  <a:lnTo>
                    <a:pt x="169419" y="1286157"/>
                  </a:lnTo>
                  <a:lnTo>
                    <a:pt x="81170" y="1133306"/>
                  </a:lnTo>
                  <a:lnTo>
                    <a:pt x="263682" y="961746"/>
                  </a:lnTo>
                  <a:cubicBezTo>
                    <a:pt x="237226" y="864211"/>
                    <a:pt x="237226" y="761389"/>
                    <a:pt x="263682" y="663853"/>
                  </a:cubicBezTo>
                  <a:lnTo>
                    <a:pt x="81170" y="492294"/>
                  </a:lnTo>
                  <a:lnTo>
                    <a:pt x="169419" y="339443"/>
                  </a:lnTo>
                  <a:lnTo>
                    <a:pt x="409250" y="411723"/>
                  </a:lnTo>
                  <a:cubicBezTo>
                    <a:pt x="480490" y="340044"/>
                    <a:pt x="569537" y="288633"/>
                    <a:pt x="667233" y="262777"/>
                  </a:cubicBezTo>
                  <a:lnTo>
                    <a:pt x="724551" y="18937"/>
                  </a:lnTo>
                  <a:lnTo>
                    <a:pt x="901049" y="18937"/>
                  </a:lnTo>
                  <a:lnTo>
                    <a:pt x="958368" y="262777"/>
                  </a:lnTo>
                  <a:cubicBezTo>
                    <a:pt x="1056064" y="288633"/>
                    <a:pt x="1145111" y="340044"/>
                    <a:pt x="1216351" y="411723"/>
                  </a:cubicBezTo>
                  <a:lnTo>
                    <a:pt x="1216350" y="411723"/>
                  </a:lnTo>
                  <a:close/>
                </a:path>
              </a:pathLst>
            </a:custGeom>
            <a:scene3d>
              <a:camera prst="orthographicFront"/>
              <a:lightRig rig="flat" dir="t"/>
            </a:scene3d>
            <a:sp3d prstMaterial="plastic">
              <a:bevelT w="120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23220" tIns="425693" rIns="423220" bIns="425693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1100" b="1" kern="1200" dirty="0"/>
            </a:p>
          </p:txBody>
        </p:sp>
        <p:sp>
          <p:nvSpPr>
            <p:cNvPr id="20" name="Freeform 19"/>
            <p:cNvSpPr/>
            <p:nvPr/>
          </p:nvSpPr>
          <p:spPr>
            <a:xfrm rot="20828141">
              <a:off x="2502872" y="3646481"/>
              <a:ext cx="985887" cy="924709"/>
            </a:xfrm>
            <a:custGeom>
              <a:avLst/>
              <a:gdLst>
                <a:gd name="connsiteX0" fmla="*/ 1216350 w 1625600"/>
                <a:gd name="connsiteY0" fmla="*/ 411723 h 1625600"/>
                <a:gd name="connsiteX1" fmla="*/ 1456181 w 1625600"/>
                <a:gd name="connsiteY1" fmla="*/ 339443 h 1625600"/>
                <a:gd name="connsiteX2" fmla="*/ 1544430 w 1625600"/>
                <a:gd name="connsiteY2" fmla="*/ 492294 h 1625600"/>
                <a:gd name="connsiteX3" fmla="*/ 1361918 w 1625600"/>
                <a:gd name="connsiteY3" fmla="*/ 663854 h 1625600"/>
                <a:gd name="connsiteX4" fmla="*/ 1361918 w 1625600"/>
                <a:gd name="connsiteY4" fmla="*/ 961747 h 1625600"/>
                <a:gd name="connsiteX5" fmla="*/ 1544430 w 1625600"/>
                <a:gd name="connsiteY5" fmla="*/ 1133306 h 1625600"/>
                <a:gd name="connsiteX6" fmla="*/ 1456181 w 1625600"/>
                <a:gd name="connsiteY6" fmla="*/ 1286157 h 1625600"/>
                <a:gd name="connsiteX7" fmla="*/ 1216350 w 1625600"/>
                <a:gd name="connsiteY7" fmla="*/ 1213877 h 1625600"/>
                <a:gd name="connsiteX8" fmla="*/ 958367 w 1625600"/>
                <a:gd name="connsiteY8" fmla="*/ 1362823 h 1625600"/>
                <a:gd name="connsiteX9" fmla="*/ 901049 w 1625600"/>
                <a:gd name="connsiteY9" fmla="*/ 1606663 h 1625600"/>
                <a:gd name="connsiteX10" fmla="*/ 724551 w 1625600"/>
                <a:gd name="connsiteY10" fmla="*/ 1606663 h 1625600"/>
                <a:gd name="connsiteX11" fmla="*/ 667232 w 1625600"/>
                <a:gd name="connsiteY11" fmla="*/ 1362823 h 1625600"/>
                <a:gd name="connsiteX12" fmla="*/ 409249 w 1625600"/>
                <a:gd name="connsiteY12" fmla="*/ 1213877 h 1625600"/>
                <a:gd name="connsiteX13" fmla="*/ 169419 w 1625600"/>
                <a:gd name="connsiteY13" fmla="*/ 1286157 h 1625600"/>
                <a:gd name="connsiteX14" fmla="*/ 81170 w 1625600"/>
                <a:gd name="connsiteY14" fmla="*/ 1133306 h 1625600"/>
                <a:gd name="connsiteX15" fmla="*/ 263682 w 1625600"/>
                <a:gd name="connsiteY15" fmla="*/ 961746 h 1625600"/>
                <a:gd name="connsiteX16" fmla="*/ 263682 w 1625600"/>
                <a:gd name="connsiteY16" fmla="*/ 663853 h 1625600"/>
                <a:gd name="connsiteX17" fmla="*/ 81170 w 1625600"/>
                <a:gd name="connsiteY17" fmla="*/ 492294 h 1625600"/>
                <a:gd name="connsiteX18" fmla="*/ 169419 w 1625600"/>
                <a:gd name="connsiteY18" fmla="*/ 339443 h 1625600"/>
                <a:gd name="connsiteX19" fmla="*/ 409250 w 1625600"/>
                <a:gd name="connsiteY19" fmla="*/ 411723 h 1625600"/>
                <a:gd name="connsiteX20" fmla="*/ 667233 w 1625600"/>
                <a:gd name="connsiteY20" fmla="*/ 262777 h 1625600"/>
                <a:gd name="connsiteX21" fmla="*/ 724551 w 1625600"/>
                <a:gd name="connsiteY21" fmla="*/ 18937 h 1625600"/>
                <a:gd name="connsiteX22" fmla="*/ 901049 w 1625600"/>
                <a:gd name="connsiteY22" fmla="*/ 18937 h 1625600"/>
                <a:gd name="connsiteX23" fmla="*/ 958368 w 1625600"/>
                <a:gd name="connsiteY23" fmla="*/ 262777 h 1625600"/>
                <a:gd name="connsiteX24" fmla="*/ 1216351 w 1625600"/>
                <a:gd name="connsiteY24" fmla="*/ 411723 h 1625600"/>
                <a:gd name="connsiteX25" fmla="*/ 1216350 w 1625600"/>
                <a:gd name="connsiteY25" fmla="*/ 411723 h 1625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625600" h="1625600">
                  <a:moveTo>
                    <a:pt x="1216350" y="411723"/>
                  </a:moveTo>
                  <a:lnTo>
                    <a:pt x="1456181" y="339443"/>
                  </a:lnTo>
                  <a:lnTo>
                    <a:pt x="1544430" y="492294"/>
                  </a:lnTo>
                  <a:lnTo>
                    <a:pt x="1361918" y="663854"/>
                  </a:lnTo>
                  <a:cubicBezTo>
                    <a:pt x="1388374" y="761389"/>
                    <a:pt x="1388374" y="864211"/>
                    <a:pt x="1361918" y="961747"/>
                  </a:cubicBezTo>
                  <a:lnTo>
                    <a:pt x="1544430" y="1133306"/>
                  </a:lnTo>
                  <a:lnTo>
                    <a:pt x="1456181" y="1286157"/>
                  </a:lnTo>
                  <a:lnTo>
                    <a:pt x="1216350" y="1213877"/>
                  </a:lnTo>
                  <a:cubicBezTo>
                    <a:pt x="1145110" y="1285556"/>
                    <a:pt x="1056063" y="1336967"/>
                    <a:pt x="958367" y="1362823"/>
                  </a:cubicBezTo>
                  <a:lnTo>
                    <a:pt x="901049" y="1606663"/>
                  </a:lnTo>
                  <a:lnTo>
                    <a:pt x="724551" y="1606663"/>
                  </a:lnTo>
                  <a:lnTo>
                    <a:pt x="667232" y="1362823"/>
                  </a:lnTo>
                  <a:cubicBezTo>
                    <a:pt x="569536" y="1336967"/>
                    <a:pt x="480489" y="1285556"/>
                    <a:pt x="409249" y="1213877"/>
                  </a:cubicBezTo>
                  <a:lnTo>
                    <a:pt x="169419" y="1286157"/>
                  </a:lnTo>
                  <a:lnTo>
                    <a:pt x="81170" y="1133306"/>
                  </a:lnTo>
                  <a:lnTo>
                    <a:pt x="263682" y="961746"/>
                  </a:lnTo>
                  <a:cubicBezTo>
                    <a:pt x="237226" y="864211"/>
                    <a:pt x="237226" y="761389"/>
                    <a:pt x="263682" y="663853"/>
                  </a:cubicBezTo>
                  <a:lnTo>
                    <a:pt x="81170" y="492294"/>
                  </a:lnTo>
                  <a:lnTo>
                    <a:pt x="169419" y="339443"/>
                  </a:lnTo>
                  <a:lnTo>
                    <a:pt x="409250" y="411723"/>
                  </a:lnTo>
                  <a:cubicBezTo>
                    <a:pt x="480490" y="340044"/>
                    <a:pt x="569537" y="288633"/>
                    <a:pt x="667233" y="262777"/>
                  </a:cubicBezTo>
                  <a:lnTo>
                    <a:pt x="724551" y="18937"/>
                  </a:lnTo>
                  <a:lnTo>
                    <a:pt x="901049" y="18937"/>
                  </a:lnTo>
                  <a:lnTo>
                    <a:pt x="958368" y="262777"/>
                  </a:lnTo>
                  <a:cubicBezTo>
                    <a:pt x="1056064" y="288633"/>
                    <a:pt x="1145111" y="340044"/>
                    <a:pt x="1216351" y="411723"/>
                  </a:cubicBezTo>
                  <a:lnTo>
                    <a:pt x="1216350" y="411723"/>
                  </a:lnTo>
                  <a:close/>
                </a:path>
              </a:pathLst>
            </a:custGeom>
            <a:scene3d>
              <a:camera prst="orthographicFront"/>
              <a:lightRig rig="flat" dir="t"/>
            </a:scene3d>
            <a:sp3d prstMaterial="plastic">
              <a:bevelT w="120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23220" tIns="425693" rIns="423220" bIns="425693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1100" b="1" kern="1200" dirty="0"/>
            </a:p>
          </p:txBody>
        </p:sp>
        <p:sp>
          <p:nvSpPr>
            <p:cNvPr id="21" name="Rectangle 20"/>
            <p:cNvSpPr/>
            <p:nvPr/>
          </p:nvSpPr>
          <p:spPr>
            <a:xfrm>
              <a:off x="1600200" y="4810826"/>
              <a:ext cx="1700784" cy="113277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5240" tIns="15240" rIns="15240" bIns="15240" numCol="1" spcCol="1270" anchor="ctr" anchorCtr="0">
              <a:noAutofit/>
            </a:bodyPr>
            <a:lstStyle/>
            <a:p>
              <a:pPr lvl="0" algn="ctr" defTabSz="533400"/>
              <a:r>
                <a:rPr lang="en-US" sz="1200" b="1" kern="1200" dirty="0" smtClean="0"/>
                <a:t>More traffic and</a:t>
              </a:r>
            </a:p>
            <a:p>
              <a:pPr lvl="0" algn="ctr" defTabSz="533400"/>
              <a:r>
                <a:rPr lang="en-US" sz="1200" b="1" kern="1200" dirty="0" smtClean="0"/>
                <a:t> revenue for </a:t>
              </a:r>
            </a:p>
            <a:p>
              <a:pPr lvl="0" algn="ctr" defTabSz="533400"/>
              <a:r>
                <a:rPr lang="en-US" sz="1200" b="1" kern="1200" dirty="0" smtClean="0"/>
                <a:t>ecosystem partners</a:t>
              </a:r>
              <a:endParaRPr lang="en-US" sz="1200" b="1" kern="1200" dirty="0"/>
            </a:p>
          </p:txBody>
        </p:sp>
        <p:sp>
          <p:nvSpPr>
            <p:cNvPr id="22" name="Rectangle 21"/>
            <p:cNvSpPr/>
            <p:nvPr/>
          </p:nvSpPr>
          <p:spPr>
            <a:xfrm>
              <a:off x="4748712" y="1780926"/>
              <a:ext cx="1700784" cy="108643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5240" tIns="15240" rIns="15240" bIns="15240" numCol="1" spcCol="1270" anchor="ctr" anchorCtr="0">
              <a:noAutofit/>
            </a:bodyPr>
            <a:lstStyle/>
            <a:p>
              <a:pPr lvl="0" algn="ctr" defTabSz="533400"/>
              <a:r>
                <a:rPr lang="en-US" sz="1200" b="1" kern="1200" dirty="0" smtClean="0"/>
                <a:t>More </a:t>
              </a:r>
            </a:p>
            <a:p>
              <a:pPr lvl="0" algn="ctr" defTabSz="533400"/>
              <a:r>
                <a:rPr lang="en-US" sz="1200" b="1" kern="1200" dirty="0" smtClean="0"/>
                <a:t>advertisers</a:t>
              </a:r>
              <a:endParaRPr lang="en-US" sz="1200" b="1" kern="1200" dirty="0"/>
            </a:p>
          </p:txBody>
        </p:sp>
        <p:sp>
          <p:nvSpPr>
            <p:cNvPr id="23" name="Freeform 22"/>
            <p:cNvSpPr/>
            <p:nvPr/>
          </p:nvSpPr>
          <p:spPr>
            <a:xfrm>
              <a:off x="2831372" y="4341553"/>
              <a:ext cx="1222571" cy="1087157"/>
            </a:xfrm>
            <a:custGeom>
              <a:avLst/>
              <a:gdLst>
                <a:gd name="connsiteX0" fmla="*/ 1191775 w 1592756"/>
                <a:gd name="connsiteY0" fmla="*/ 403405 h 1592756"/>
                <a:gd name="connsiteX1" fmla="*/ 1426760 w 1592756"/>
                <a:gd name="connsiteY1" fmla="*/ 332584 h 1592756"/>
                <a:gd name="connsiteX2" fmla="*/ 1513226 w 1592756"/>
                <a:gd name="connsiteY2" fmla="*/ 482348 h 1592756"/>
                <a:gd name="connsiteX3" fmla="*/ 1334401 w 1592756"/>
                <a:gd name="connsiteY3" fmla="*/ 650441 h 1592756"/>
                <a:gd name="connsiteX4" fmla="*/ 1334401 w 1592756"/>
                <a:gd name="connsiteY4" fmla="*/ 942315 h 1592756"/>
                <a:gd name="connsiteX5" fmla="*/ 1513226 w 1592756"/>
                <a:gd name="connsiteY5" fmla="*/ 1110408 h 1592756"/>
                <a:gd name="connsiteX6" fmla="*/ 1426760 w 1592756"/>
                <a:gd name="connsiteY6" fmla="*/ 1260172 h 1592756"/>
                <a:gd name="connsiteX7" fmla="*/ 1191775 w 1592756"/>
                <a:gd name="connsiteY7" fmla="*/ 1189351 h 1592756"/>
                <a:gd name="connsiteX8" fmla="*/ 939004 w 1592756"/>
                <a:gd name="connsiteY8" fmla="*/ 1335288 h 1592756"/>
                <a:gd name="connsiteX9" fmla="*/ 882844 w 1592756"/>
                <a:gd name="connsiteY9" fmla="*/ 1574202 h 1592756"/>
                <a:gd name="connsiteX10" fmla="*/ 709912 w 1592756"/>
                <a:gd name="connsiteY10" fmla="*/ 1574202 h 1592756"/>
                <a:gd name="connsiteX11" fmla="*/ 653752 w 1592756"/>
                <a:gd name="connsiteY11" fmla="*/ 1335288 h 1592756"/>
                <a:gd name="connsiteX12" fmla="*/ 400981 w 1592756"/>
                <a:gd name="connsiteY12" fmla="*/ 1189351 h 1592756"/>
                <a:gd name="connsiteX13" fmla="*/ 165996 w 1592756"/>
                <a:gd name="connsiteY13" fmla="*/ 1260172 h 1592756"/>
                <a:gd name="connsiteX14" fmla="*/ 79530 w 1592756"/>
                <a:gd name="connsiteY14" fmla="*/ 1110408 h 1592756"/>
                <a:gd name="connsiteX15" fmla="*/ 258355 w 1592756"/>
                <a:gd name="connsiteY15" fmla="*/ 942315 h 1592756"/>
                <a:gd name="connsiteX16" fmla="*/ 258355 w 1592756"/>
                <a:gd name="connsiteY16" fmla="*/ 650441 h 1592756"/>
                <a:gd name="connsiteX17" fmla="*/ 79530 w 1592756"/>
                <a:gd name="connsiteY17" fmla="*/ 482348 h 1592756"/>
                <a:gd name="connsiteX18" fmla="*/ 165996 w 1592756"/>
                <a:gd name="connsiteY18" fmla="*/ 332584 h 1592756"/>
                <a:gd name="connsiteX19" fmla="*/ 400981 w 1592756"/>
                <a:gd name="connsiteY19" fmla="*/ 403405 h 1592756"/>
                <a:gd name="connsiteX20" fmla="*/ 653752 w 1592756"/>
                <a:gd name="connsiteY20" fmla="*/ 257468 h 1592756"/>
                <a:gd name="connsiteX21" fmla="*/ 709912 w 1592756"/>
                <a:gd name="connsiteY21" fmla="*/ 18554 h 1592756"/>
                <a:gd name="connsiteX22" fmla="*/ 882844 w 1592756"/>
                <a:gd name="connsiteY22" fmla="*/ 18554 h 1592756"/>
                <a:gd name="connsiteX23" fmla="*/ 939004 w 1592756"/>
                <a:gd name="connsiteY23" fmla="*/ 257468 h 1592756"/>
                <a:gd name="connsiteX24" fmla="*/ 1191775 w 1592756"/>
                <a:gd name="connsiteY24" fmla="*/ 403405 h 1592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592756" h="1592756">
                  <a:moveTo>
                    <a:pt x="1025173" y="402893"/>
                  </a:moveTo>
                  <a:lnTo>
                    <a:pt x="1195533" y="297380"/>
                  </a:lnTo>
                  <a:lnTo>
                    <a:pt x="1295376" y="397223"/>
                  </a:lnTo>
                  <a:lnTo>
                    <a:pt x="1189863" y="567584"/>
                  </a:lnTo>
                  <a:cubicBezTo>
                    <a:pt x="1230502" y="637475"/>
                    <a:pt x="1251792" y="716930"/>
                    <a:pt x="1251543" y="797777"/>
                  </a:cubicBezTo>
                  <a:lnTo>
                    <a:pt x="1428100" y="892558"/>
                  </a:lnTo>
                  <a:lnTo>
                    <a:pt x="1391556" y="1028945"/>
                  </a:lnTo>
                  <a:lnTo>
                    <a:pt x="1191263" y="1022749"/>
                  </a:lnTo>
                  <a:cubicBezTo>
                    <a:pt x="1151054" y="1092889"/>
                    <a:pt x="1092889" y="1151054"/>
                    <a:pt x="1022749" y="1191262"/>
                  </a:cubicBezTo>
                  <a:lnTo>
                    <a:pt x="1028945" y="1391556"/>
                  </a:lnTo>
                  <a:lnTo>
                    <a:pt x="892558" y="1428101"/>
                  </a:lnTo>
                  <a:lnTo>
                    <a:pt x="797778" y="1251543"/>
                  </a:lnTo>
                  <a:cubicBezTo>
                    <a:pt x="716930" y="1251791"/>
                    <a:pt x="637475" y="1230502"/>
                    <a:pt x="567583" y="1189863"/>
                  </a:cubicBezTo>
                  <a:lnTo>
                    <a:pt x="397223" y="1295376"/>
                  </a:lnTo>
                  <a:lnTo>
                    <a:pt x="297380" y="1195533"/>
                  </a:lnTo>
                  <a:lnTo>
                    <a:pt x="402893" y="1025172"/>
                  </a:lnTo>
                  <a:cubicBezTo>
                    <a:pt x="362254" y="955281"/>
                    <a:pt x="340964" y="875826"/>
                    <a:pt x="341213" y="794979"/>
                  </a:cubicBezTo>
                  <a:lnTo>
                    <a:pt x="164656" y="700198"/>
                  </a:lnTo>
                  <a:lnTo>
                    <a:pt x="201200" y="563811"/>
                  </a:lnTo>
                  <a:lnTo>
                    <a:pt x="401493" y="570007"/>
                  </a:lnTo>
                  <a:cubicBezTo>
                    <a:pt x="441702" y="499867"/>
                    <a:pt x="499867" y="441702"/>
                    <a:pt x="570007" y="401494"/>
                  </a:cubicBezTo>
                  <a:lnTo>
                    <a:pt x="563811" y="201200"/>
                  </a:lnTo>
                  <a:lnTo>
                    <a:pt x="700198" y="164655"/>
                  </a:lnTo>
                  <a:lnTo>
                    <a:pt x="794978" y="341213"/>
                  </a:lnTo>
                  <a:cubicBezTo>
                    <a:pt x="875826" y="340965"/>
                    <a:pt x="955281" y="362254"/>
                    <a:pt x="1025173" y="402893"/>
                  </a:cubicBezTo>
                  <a:close/>
                </a:path>
              </a:pathLst>
            </a:custGeom>
            <a:scene3d>
              <a:camera prst="orthographicFront"/>
              <a:lightRig rig="flat" dir="t"/>
            </a:scene3d>
            <a:sp3d prstMaterial="plastic">
              <a:bevelT w="120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42291" tIns="542290" rIns="542289" bIns="542290" numCol="1" spcCol="1270" anchor="ctr" anchorCtr="0">
              <a:noAutofit/>
            </a:bodyPr>
            <a:lstStyle/>
            <a:p>
              <a:pPr lvl="0" algn="ctr"/>
              <a:endParaRPr lang="en-US" sz="1200" b="1" dirty="0"/>
            </a:p>
          </p:txBody>
        </p:sp>
        <p:sp>
          <p:nvSpPr>
            <p:cNvPr id="24" name="Freeform 23"/>
            <p:cNvSpPr/>
            <p:nvPr/>
          </p:nvSpPr>
          <p:spPr>
            <a:xfrm>
              <a:off x="4824388" y="4003190"/>
              <a:ext cx="985887" cy="924709"/>
            </a:xfrm>
            <a:custGeom>
              <a:avLst/>
              <a:gdLst>
                <a:gd name="connsiteX0" fmla="*/ 1216350 w 1625600"/>
                <a:gd name="connsiteY0" fmla="*/ 411723 h 1625600"/>
                <a:gd name="connsiteX1" fmla="*/ 1456181 w 1625600"/>
                <a:gd name="connsiteY1" fmla="*/ 339443 h 1625600"/>
                <a:gd name="connsiteX2" fmla="*/ 1544430 w 1625600"/>
                <a:gd name="connsiteY2" fmla="*/ 492294 h 1625600"/>
                <a:gd name="connsiteX3" fmla="*/ 1361918 w 1625600"/>
                <a:gd name="connsiteY3" fmla="*/ 663854 h 1625600"/>
                <a:gd name="connsiteX4" fmla="*/ 1361918 w 1625600"/>
                <a:gd name="connsiteY4" fmla="*/ 961747 h 1625600"/>
                <a:gd name="connsiteX5" fmla="*/ 1544430 w 1625600"/>
                <a:gd name="connsiteY5" fmla="*/ 1133306 h 1625600"/>
                <a:gd name="connsiteX6" fmla="*/ 1456181 w 1625600"/>
                <a:gd name="connsiteY6" fmla="*/ 1286157 h 1625600"/>
                <a:gd name="connsiteX7" fmla="*/ 1216350 w 1625600"/>
                <a:gd name="connsiteY7" fmla="*/ 1213877 h 1625600"/>
                <a:gd name="connsiteX8" fmla="*/ 958367 w 1625600"/>
                <a:gd name="connsiteY8" fmla="*/ 1362823 h 1625600"/>
                <a:gd name="connsiteX9" fmla="*/ 901049 w 1625600"/>
                <a:gd name="connsiteY9" fmla="*/ 1606663 h 1625600"/>
                <a:gd name="connsiteX10" fmla="*/ 724551 w 1625600"/>
                <a:gd name="connsiteY10" fmla="*/ 1606663 h 1625600"/>
                <a:gd name="connsiteX11" fmla="*/ 667232 w 1625600"/>
                <a:gd name="connsiteY11" fmla="*/ 1362823 h 1625600"/>
                <a:gd name="connsiteX12" fmla="*/ 409249 w 1625600"/>
                <a:gd name="connsiteY12" fmla="*/ 1213877 h 1625600"/>
                <a:gd name="connsiteX13" fmla="*/ 169419 w 1625600"/>
                <a:gd name="connsiteY13" fmla="*/ 1286157 h 1625600"/>
                <a:gd name="connsiteX14" fmla="*/ 81170 w 1625600"/>
                <a:gd name="connsiteY14" fmla="*/ 1133306 h 1625600"/>
                <a:gd name="connsiteX15" fmla="*/ 263682 w 1625600"/>
                <a:gd name="connsiteY15" fmla="*/ 961746 h 1625600"/>
                <a:gd name="connsiteX16" fmla="*/ 263682 w 1625600"/>
                <a:gd name="connsiteY16" fmla="*/ 663853 h 1625600"/>
                <a:gd name="connsiteX17" fmla="*/ 81170 w 1625600"/>
                <a:gd name="connsiteY17" fmla="*/ 492294 h 1625600"/>
                <a:gd name="connsiteX18" fmla="*/ 169419 w 1625600"/>
                <a:gd name="connsiteY18" fmla="*/ 339443 h 1625600"/>
                <a:gd name="connsiteX19" fmla="*/ 409250 w 1625600"/>
                <a:gd name="connsiteY19" fmla="*/ 411723 h 1625600"/>
                <a:gd name="connsiteX20" fmla="*/ 667233 w 1625600"/>
                <a:gd name="connsiteY20" fmla="*/ 262777 h 1625600"/>
                <a:gd name="connsiteX21" fmla="*/ 724551 w 1625600"/>
                <a:gd name="connsiteY21" fmla="*/ 18937 h 1625600"/>
                <a:gd name="connsiteX22" fmla="*/ 901049 w 1625600"/>
                <a:gd name="connsiteY22" fmla="*/ 18937 h 1625600"/>
                <a:gd name="connsiteX23" fmla="*/ 958368 w 1625600"/>
                <a:gd name="connsiteY23" fmla="*/ 262777 h 1625600"/>
                <a:gd name="connsiteX24" fmla="*/ 1216351 w 1625600"/>
                <a:gd name="connsiteY24" fmla="*/ 411723 h 1625600"/>
                <a:gd name="connsiteX25" fmla="*/ 1216350 w 1625600"/>
                <a:gd name="connsiteY25" fmla="*/ 411723 h 1625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625600" h="1625600">
                  <a:moveTo>
                    <a:pt x="1216350" y="411723"/>
                  </a:moveTo>
                  <a:lnTo>
                    <a:pt x="1456181" y="339443"/>
                  </a:lnTo>
                  <a:lnTo>
                    <a:pt x="1544430" y="492294"/>
                  </a:lnTo>
                  <a:lnTo>
                    <a:pt x="1361918" y="663854"/>
                  </a:lnTo>
                  <a:cubicBezTo>
                    <a:pt x="1388374" y="761389"/>
                    <a:pt x="1388374" y="864211"/>
                    <a:pt x="1361918" y="961747"/>
                  </a:cubicBezTo>
                  <a:lnTo>
                    <a:pt x="1544430" y="1133306"/>
                  </a:lnTo>
                  <a:lnTo>
                    <a:pt x="1456181" y="1286157"/>
                  </a:lnTo>
                  <a:lnTo>
                    <a:pt x="1216350" y="1213877"/>
                  </a:lnTo>
                  <a:cubicBezTo>
                    <a:pt x="1145110" y="1285556"/>
                    <a:pt x="1056063" y="1336967"/>
                    <a:pt x="958367" y="1362823"/>
                  </a:cubicBezTo>
                  <a:lnTo>
                    <a:pt x="901049" y="1606663"/>
                  </a:lnTo>
                  <a:lnTo>
                    <a:pt x="724551" y="1606663"/>
                  </a:lnTo>
                  <a:lnTo>
                    <a:pt x="667232" y="1362823"/>
                  </a:lnTo>
                  <a:cubicBezTo>
                    <a:pt x="569536" y="1336967"/>
                    <a:pt x="480489" y="1285556"/>
                    <a:pt x="409249" y="1213877"/>
                  </a:cubicBezTo>
                  <a:lnTo>
                    <a:pt x="169419" y="1286157"/>
                  </a:lnTo>
                  <a:lnTo>
                    <a:pt x="81170" y="1133306"/>
                  </a:lnTo>
                  <a:lnTo>
                    <a:pt x="263682" y="961746"/>
                  </a:lnTo>
                  <a:cubicBezTo>
                    <a:pt x="237226" y="864211"/>
                    <a:pt x="237226" y="761389"/>
                    <a:pt x="263682" y="663853"/>
                  </a:cubicBezTo>
                  <a:lnTo>
                    <a:pt x="81170" y="492294"/>
                  </a:lnTo>
                  <a:lnTo>
                    <a:pt x="169419" y="339443"/>
                  </a:lnTo>
                  <a:lnTo>
                    <a:pt x="409250" y="411723"/>
                  </a:lnTo>
                  <a:cubicBezTo>
                    <a:pt x="480490" y="340044"/>
                    <a:pt x="569537" y="288633"/>
                    <a:pt x="667233" y="262777"/>
                  </a:cubicBezTo>
                  <a:lnTo>
                    <a:pt x="724551" y="18937"/>
                  </a:lnTo>
                  <a:lnTo>
                    <a:pt x="901049" y="18937"/>
                  </a:lnTo>
                  <a:lnTo>
                    <a:pt x="958368" y="262777"/>
                  </a:lnTo>
                  <a:cubicBezTo>
                    <a:pt x="1056064" y="288633"/>
                    <a:pt x="1145111" y="340044"/>
                    <a:pt x="1216351" y="411723"/>
                  </a:cubicBezTo>
                  <a:lnTo>
                    <a:pt x="1216350" y="411723"/>
                  </a:lnTo>
                  <a:close/>
                </a:path>
              </a:pathLst>
            </a:custGeom>
            <a:scene3d>
              <a:camera prst="orthographicFront"/>
              <a:lightRig rig="flat" dir="t"/>
            </a:scene3d>
            <a:sp3d prstMaterial="plastic">
              <a:bevelT w="120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23220" tIns="425693" rIns="423220" bIns="425693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1100" b="1" kern="1200" dirty="0"/>
            </a:p>
          </p:txBody>
        </p:sp>
        <p:sp>
          <p:nvSpPr>
            <p:cNvPr id="25" name="Freeform 24"/>
            <p:cNvSpPr/>
            <p:nvPr/>
          </p:nvSpPr>
          <p:spPr>
            <a:xfrm rot="19945178">
              <a:off x="3912552" y="4414591"/>
              <a:ext cx="1222571" cy="1087157"/>
            </a:xfrm>
            <a:custGeom>
              <a:avLst/>
              <a:gdLst>
                <a:gd name="connsiteX0" fmla="*/ 1191775 w 1592756"/>
                <a:gd name="connsiteY0" fmla="*/ 403405 h 1592756"/>
                <a:gd name="connsiteX1" fmla="*/ 1426760 w 1592756"/>
                <a:gd name="connsiteY1" fmla="*/ 332584 h 1592756"/>
                <a:gd name="connsiteX2" fmla="*/ 1513226 w 1592756"/>
                <a:gd name="connsiteY2" fmla="*/ 482348 h 1592756"/>
                <a:gd name="connsiteX3" fmla="*/ 1334401 w 1592756"/>
                <a:gd name="connsiteY3" fmla="*/ 650441 h 1592756"/>
                <a:gd name="connsiteX4" fmla="*/ 1334401 w 1592756"/>
                <a:gd name="connsiteY4" fmla="*/ 942315 h 1592756"/>
                <a:gd name="connsiteX5" fmla="*/ 1513226 w 1592756"/>
                <a:gd name="connsiteY5" fmla="*/ 1110408 h 1592756"/>
                <a:gd name="connsiteX6" fmla="*/ 1426760 w 1592756"/>
                <a:gd name="connsiteY6" fmla="*/ 1260172 h 1592756"/>
                <a:gd name="connsiteX7" fmla="*/ 1191775 w 1592756"/>
                <a:gd name="connsiteY7" fmla="*/ 1189351 h 1592756"/>
                <a:gd name="connsiteX8" fmla="*/ 939004 w 1592756"/>
                <a:gd name="connsiteY8" fmla="*/ 1335288 h 1592756"/>
                <a:gd name="connsiteX9" fmla="*/ 882844 w 1592756"/>
                <a:gd name="connsiteY9" fmla="*/ 1574202 h 1592756"/>
                <a:gd name="connsiteX10" fmla="*/ 709912 w 1592756"/>
                <a:gd name="connsiteY10" fmla="*/ 1574202 h 1592756"/>
                <a:gd name="connsiteX11" fmla="*/ 653752 w 1592756"/>
                <a:gd name="connsiteY11" fmla="*/ 1335288 h 1592756"/>
                <a:gd name="connsiteX12" fmla="*/ 400981 w 1592756"/>
                <a:gd name="connsiteY12" fmla="*/ 1189351 h 1592756"/>
                <a:gd name="connsiteX13" fmla="*/ 165996 w 1592756"/>
                <a:gd name="connsiteY13" fmla="*/ 1260172 h 1592756"/>
                <a:gd name="connsiteX14" fmla="*/ 79530 w 1592756"/>
                <a:gd name="connsiteY14" fmla="*/ 1110408 h 1592756"/>
                <a:gd name="connsiteX15" fmla="*/ 258355 w 1592756"/>
                <a:gd name="connsiteY15" fmla="*/ 942315 h 1592756"/>
                <a:gd name="connsiteX16" fmla="*/ 258355 w 1592756"/>
                <a:gd name="connsiteY16" fmla="*/ 650441 h 1592756"/>
                <a:gd name="connsiteX17" fmla="*/ 79530 w 1592756"/>
                <a:gd name="connsiteY17" fmla="*/ 482348 h 1592756"/>
                <a:gd name="connsiteX18" fmla="*/ 165996 w 1592756"/>
                <a:gd name="connsiteY18" fmla="*/ 332584 h 1592756"/>
                <a:gd name="connsiteX19" fmla="*/ 400981 w 1592756"/>
                <a:gd name="connsiteY19" fmla="*/ 403405 h 1592756"/>
                <a:gd name="connsiteX20" fmla="*/ 653752 w 1592756"/>
                <a:gd name="connsiteY20" fmla="*/ 257468 h 1592756"/>
                <a:gd name="connsiteX21" fmla="*/ 709912 w 1592756"/>
                <a:gd name="connsiteY21" fmla="*/ 18554 h 1592756"/>
                <a:gd name="connsiteX22" fmla="*/ 882844 w 1592756"/>
                <a:gd name="connsiteY22" fmla="*/ 18554 h 1592756"/>
                <a:gd name="connsiteX23" fmla="*/ 939004 w 1592756"/>
                <a:gd name="connsiteY23" fmla="*/ 257468 h 1592756"/>
                <a:gd name="connsiteX24" fmla="*/ 1191775 w 1592756"/>
                <a:gd name="connsiteY24" fmla="*/ 403405 h 1592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592756" h="1592756">
                  <a:moveTo>
                    <a:pt x="1025173" y="402893"/>
                  </a:moveTo>
                  <a:lnTo>
                    <a:pt x="1195533" y="297380"/>
                  </a:lnTo>
                  <a:lnTo>
                    <a:pt x="1295376" y="397223"/>
                  </a:lnTo>
                  <a:lnTo>
                    <a:pt x="1189863" y="567584"/>
                  </a:lnTo>
                  <a:cubicBezTo>
                    <a:pt x="1230502" y="637475"/>
                    <a:pt x="1251792" y="716930"/>
                    <a:pt x="1251543" y="797777"/>
                  </a:cubicBezTo>
                  <a:lnTo>
                    <a:pt x="1428100" y="892558"/>
                  </a:lnTo>
                  <a:lnTo>
                    <a:pt x="1391556" y="1028945"/>
                  </a:lnTo>
                  <a:lnTo>
                    <a:pt x="1191263" y="1022749"/>
                  </a:lnTo>
                  <a:cubicBezTo>
                    <a:pt x="1151054" y="1092889"/>
                    <a:pt x="1092889" y="1151054"/>
                    <a:pt x="1022749" y="1191262"/>
                  </a:cubicBezTo>
                  <a:lnTo>
                    <a:pt x="1028945" y="1391556"/>
                  </a:lnTo>
                  <a:lnTo>
                    <a:pt x="892558" y="1428101"/>
                  </a:lnTo>
                  <a:lnTo>
                    <a:pt x="797778" y="1251543"/>
                  </a:lnTo>
                  <a:cubicBezTo>
                    <a:pt x="716930" y="1251791"/>
                    <a:pt x="637475" y="1230502"/>
                    <a:pt x="567583" y="1189863"/>
                  </a:cubicBezTo>
                  <a:lnTo>
                    <a:pt x="397223" y="1295376"/>
                  </a:lnTo>
                  <a:lnTo>
                    <a:pt x="297380" y="1195533"/>
                  </a:lnTo>
                  <a:lnTo>
                    <a:pt x="402893" y="1025172"/>
                  </a:lnTo>
                  <a:cubicBezTo>
                    <a:pt x="362254" y="955281"/>
                    <a:pt x="340964" y="875826"/>
                    <a:pt x="341213" y="794979"/>
                  </a:cubicBezTo>
                  <a:lnTo>
                    <a:pt x="164656" y="700198"/>
                  </a:lnTo>
                  <a:lnTo>
                    <a:pt x="201200" y="563811"/>
                  </a:lnTo>
                  <a:lnTo>
                    <a:pt x="401493" y="570007"/>
                  </a:lnTo>
                  <a:cubicBezTo>
                    <a:pt x="441702" y="499867"/>
                    <a:pt x="499867" y="441702"/>
                    <a:pt x="570007" y="401494"/>
                  </a:cubicBezTo>
                  <a:lnTo>
                    <a:pt x="563811" y="201200"/>
                  </a:lnTo>
                  <a:lnTo>
                    <a:pt x="700198" y="164655"/>
                  </a:lnTo>
                  <a:lnTo>
                    <a:pt x="794978" y="341213"/>
                  </a:lnTo>
                  <a:cubicBezTo>
                    <a:pt x="875826" y="340965"/>
                    <a:pt x="955281" y="362254"/>
                    <a:pt x="1025173" y="402893"/>
                  </a:cubicBezTo>
                  <a:close/>
                </a:path>
              </a:pathLst>
            </a:custGeom>
            <a:scene3d>
              <a:camera prst="orthographicFront"/>
              <a:lightRig rig="flat" dir="t"/>
            </a:scene3d>
            <a:sp3d prstMaterial="plastic">
              <a:bevelT w="120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42291" tIns="542290" rIns="542289" bIns="542290" numCol="1" spcCol="1270" anchor="ctr" anchorCtr="0">
              <a:noAutofit/>
            </a:bodyPr>
            <a:lstStyle/>
            <a:p>
              <a:pPr lvl="0" algn="ctr"/>
              <a:endParaRPr lang="en-US" sz="1200" b="1" dirty="0"/>
            </a:p>
          </p:txBody>
        </p:sp>
        <p:sp>
          <p:nvSpPr>
            <p:cNvPr id="26" name="Rectangle 25"/>
            <p:cNvSpPr/>
            <p:nvPr/>
          </p:nvSpPr>
          <p:spPr>
            <a:xfrm>
              <a:off x="5810275" y="3022403"/>
              <a:ext cx="997352" cy="108643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5240" tIns="15240" rIns="15240" bIns="15240" numCol="1" spcCol="1270" anchor="ctr" anchorCtr="0">
              <a:noAutofit/>
            </a:bodyPr>
            <a:lstStyle/>
            <a:p>
              <a:pPr algn="ctr" defTabSz="533400">
                <a:defRPr/>
              </a:pPr>
              <a:r>
                <a:rPr lang="en-US" sz="1200" b="1" dirty="0" smtClean="0"/>
                <a:t>More </a:t>
              </a:r>
              <a:r>
                <a:rPr lang="en-US" sz="1200" b="1" dirty="0"/>
                <a:t>relevant </a:t>
              </a:r>
              <a:r>
                <a:rPr lang="en-US" sz="1200" b="1" dirty="0" smtClean="0"/>
                <a:t>ads, higher revenue per search</a:t>
              </a:r>
              <a:endParaRPr lang="en-US" sz="1200" b="1" dirty="0"/>
            </a:p>
          </p:txBody>
        </p:sp>
        <p:sp>
          <p:nvSpPr>
            <p:cNvPr id="27" name="Rectangle 26"/>
            <p:cNvSpPr/>
            <p:nvPr/>
          </p:nvSpPr>
          <p:spPr>
            <a:xfrm>
              <a:off x="2593283" y="1618552"/>
              <a:ext cx="2273750" cy="50184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5240" tIns="15240" rIns="15240" bIns="15240" numCol="1" spcCol="1270" anchor="ctr" anchorCtr="0">
              <a:noAutofit/>
            </a:bodyPr>
            <a:lstStyle/>
            <a:p>
              <a:pPr algn="ctr">
                <a:defRPr/>
              </a:pPr>
              <a:r>
                <a:rPr lang="en-US" sz="1200" b="1" dirty="0" smtClean="0">
                  <a:solidFill>
                    <a:prstClr val="black"/>
                  </a:solidFill>
                </a:rPr>
                <a:t>More relevant </a:t>
              </a:r>
            </a:p>
            <a:p>
              <a:pPr algn="ctr">
                <a:defRPr/>
              </a:pPr>
              <a:r>
                <a:rPr lang="en-US" sz="1200" b="1" dirty="0" smtClean="0">
                  <a:solidFill>
                    <a:prstClr val="black"/>
                  </a:solidFill>
                </a:rPr>
                <a:t>algorithmic results</a:t>
              </a:r>
              <a:endParaRPr lang="en-US" sz="1200" b="1" dirty="0">
                <a:solidFill>
                  <a:prstClr val="black"/>
                </a:solidFill>
              </a:endParaRP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1676014" y="2131252"/>
              <a:ext cx="1700784" cy="108643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5240" tIns="15240" rIns="15240" bIns="15240" numCol="1" spcCol="1270" anchor="ctr" anchorCtr="0">
              <a:noAutofit/>
            </a:bodyPr>
            <a:lstStyle/>
            <a:p>
              <a:pPr algn="ctr" defTabSz="533400">
                <a:defRPr/>
              </a:pPr>
              <a:r>
                <a:rPr lang="en-US" sz="1200" b="1" dirty="0" smtClean="0"/>
                <a:t>More data</a:t>
              </a:r>
              <a:endParaRPr lang="en-US" sz="1200" b="1" dirty="0"/>
            </a:p>
          </p:txBody>
        </p:sp>
        <p:sp>
          <p:nvSpPr>
            <p:cNvPr id="29" name="Circular Arrow 28"/>
            <p:cNvSpPr/>
            <p:nvPr/>
          </p:nvSpPr>
          <p:spPr>
            <a:xfrm rot="9487542">
              <a:off x="4345959" y="4123063"/>
              <a:ext cx="990810" cy="1092545"/>
            </a:xfrm>
            <a:prstGeom prst="circularArrow">
              <a:avLst>
                <a:gd name="adj1" fmla="val 7447"/>
                <a:gd name="adj2" fmla="val 1142319"/>
                <a:gd name="adj3" fmla="val 20530694"/>
                <a:gd name="adj4" fmla="val 9874942"/>
                <a:gd name="adj5" fmla="val 12500"/>
              </a:avLst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spAutoFit/>
            </a:bodyPr>
            <a:lstStyle/>
            <a:p>
              <a:pPr algn="ctr"/>
              <a:endParaRPr lang="en-US" sz="1200" dirty="0" smtClean="0">
                <a:solidFill>
                  <a:srgbClr val="FF0000"/>
                </a:solidFill>
              </a:endParaRPr>
            </a:p>
          </p:txBody>
        </p:sp>
        <p:sp>
          <p:nvSpPr>
            <p:cNvPr id="30" name="Circular Arrow 29"/>
            <p:cNvSpPr/>
            <p:nvPr/>
          </p:nvSpPr>
          <p:spPr>
            <a:xfrm rot="15017674">
              <a:off x="2793454" y="3865684"/>
              <a:ext cx="990810" cy="1092545"/>
            </a:xfrm>
            <a:prstGeom prst="circularArrow">
              <a:avLst>
                <a:gd name="adj1" fmla="val 7111"/>
                <a:gd name="adj2" fmla="val 1142319"/>
                <a:gd name="adj3" fmla="val 20359791"/>
                <a:gd name="adj4" fmla="val 10021935"/>
                <a:gd name="adj5" fmla="val 12500"/>
              </a:avLst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spAutoFit/>
            </a:bodyPr>
            <a:lstStyle/>
            <a:p>
              <a:pPr algn="ctr"/>
              <a:endParaRPr lang="en-US" sz="1200" dirty="0" smtClean="0">
                <a:solidFill>
                  <a:srgbClr val="FF0000"/>
                </a:solidFill>
              </a:endParaRPr>
            </a:p>
          </p:txBody>
        </p:sp>
        <p:sp>
          <p:nvSpPr>
            <p:cNvPr id="31" name="Freeform 30"/>
            <p:cNvSpPr/>
            <p:nvPr/>
          </p:nvSpPr>
          <p:spPr>
            <a:xfrm rot="1766513">
              <a:off x="4824387" y="2992713"/>
              <a:ext cx="985887" cy="924709"/>
            </a:xfrm>
            <a:custGeom>
              <a:avLst/>
              <a:gdLst>
                <a:gd name="connsiteX0" fmla="*/ 1216350 w 1625600"/>
                <a:gd name="connsiteY0" fmla="*/ 411723 h 1625600"/>
                <a:gd name="connsiteX1" fmla="*/ 1456181 w 1625600"/>
                <a:gd name="connsiteY1" fmla="*/ 339443 h 1625600"/>
                <a:gd name="connsiteX2" fmla="*/ 1544430 w 1625600"/>
                <a:gd name="connsiteY2" fmla="*/ 492294 h 1625600"/>
                <a:gd name="connsiteX3" fmla="*/ 1361918 w 1625600"/>
                <a:gd name="connsiteY3" fmla="*/ 663854 h 1625600"/>
                <a:gd name="connsiteX4" fmla="*/ 1361918 w 1625600"/>
                <a:gd name="connsiteY4" fmla="*/ 961747 h 1625600"/>
                <a:gd name="connsiteX5" fmla="*/ 1544430 w 1625600"/>
                <a:gd name="connsiteY5" fmla="*/ 1133306 h 1625600"/>
                <a:gd name="connsiteX6" fmla="*/ 1456181 w 1625600"/>
                <a:gd name="connsiteY6" fmla="*/ 1286157 h 1625600"/>
                <a:gd name="connsiteX7" fmla="*/ 1216350 w 1625600"/>
                <a:gd name="connsiteY7" fmla="*/ 1213877 h 1625600"/>
                <a:gd name="connsiteX8" fmla="*/ 958367 w 1625600"/>
                <a:gd name="connsiteY8" fmla="*/ 1362823 h 1625600"/>
                <a:gd name="connsiteX9" fmla="*/ 901049 w 1625600"/>
                <a:gd name="connsiteY9" fmla="*/ 1606663 h 1625600"/>
                <a:gd name="connsiteX10" fmla="*/ 724551 w 1625600"/>
                <a:gd name="connsiteY10" fmla="*/ 1606663 h 1625600"/>
                <a:gd name="connsiteX11" fmla="*/ 667232 w 1625600"/>
                <a:gd name="connsiteY11" fmla="*/ 1362823 h 1625600"/>
                <a:gd name="connsiteX12" fmla="*/ 409249 w 1625600"/>
                <a:gd name="connsiteY12" fmla="*/ 1213877 h 1625600"/>
                <a:gd name="connsiteX13" fmla="*/ 169419 w 1625600"/>
                <a:gd name="connsiteY13" fmla="*/ 1286157 h 1625600"/>
                <a:gd name="connsiteX14" fmla="*/ 81170 w 1625600"/>
                <a:gd name="connsiteY14" fmla="*/ 1133306 h 1625600"/>
                <a:gd name="connsiteX15" fmla="*/ 263682 w 1625600"/>
                <a:gd name="connsiteY15" fmla="*/ 961746 h 1625600"/>
                <a:gd name="connsiteX16" fmla="*/ 263682 w 1625600"/>
                <a:gd name="connsiteY16" fmla="*/ 663853 h 1625600"/>
                <a:gd name="connsiteX17" fmla="*/ 81170 w 1625600"/>
                <a:gd name="connsiteY17" fmla="*/ 492294 h 1625600"/>
                <a:gd name="connsiteX18" fmla="*/ 169419 w 1625600"/>
                <a:gd name="connsiteY18" fmla="*/ 339443 h 1625600"/>
                <a:gd name="connsiteX19" fmla="*/ 409250 w 1625600"/>
                <a:gd name="connsiteY19" fmla="*/ 411723 h 1625600"/>
                <a:gd name="connsiteX20" fmla="*/ 667233 w 1625600"/>
                <a:gd name="connsiteY20" fmla="*/ 262777 h 1625600"/>
                <a:gd name="connsiteX21" fmla="*/ 724551 w 1625600"/>
                <a:gd name="connsiteY21" fmla="*/ 18937 h 1625600"/>
                <a:gd name="connsiteX22" fmla="*/ 901049 w 1625600"/>
                <a:gd name="connsiteY22" fmla="*/ 18937 h 1625600"/>
                <a:gd name="connsiteX23" fmla="*/ 958368 w 1625600"/>
                <a:gd name="connsiteY23" fmla="*/ 262777 h 1625600"/>
                <a:gd name="connsiteX24" fmla="*/ 1216351 w 1625600"/>
                <a:gd name="connsiteY24" fmla="*/ 411723 h 1625600"/>
                <a:gd name="connsiteX25" fmla="*/ 1216350 w 1625600"/>
                <a:gd name="connsiteY25" fmla="*/ 411723 h 1625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625600" h="1625600">
                  <a:moveTo>
                    <a:pt x="1216350" y="411723"/>
                  </a:moveTo>
                  <a:lnTo>
                    <a:pt x="1456181" y="339443"/>
                  </a:lnTo>
                  <a:lnTo>
                    <a:pt x="1544430" y="492294"/>
                  </a:lnTo>
                  <a:lnTo>
                    <a:pt x="1361918" y="663854"/>
                  </a:lnTo>
                  <a:cubicBezTo>
                    <a:pt x="1388374" y="761389"/>
                    <a:pt x="1388374" y="864211"/>
                    <a:pt x="1361918" y="961747"/>
                  </a:cubicBezTo>
                  <a:lnTo>
                    <a:pt x="1544430" y="1133306"/>
                  </a:lnTo>
                  <a:lnTo>
                    <a:pt x="1456181" y="1286157"/>
                  </a:lnTo>
                  <a:lnTo>
                    <a:pt x="1216350" y="1213877"/>
                  </a:lnTo>
                  <a:cubicBezTo>
                    <a:pt x="1145110" y="1285556"/>
                    <a:pt x="1056063" y="1336967"/>
                    <a:pt x="958367" y="1362823"/>
                  </a:cubicBezTo>
                  <a:lnTo>
                    <a:pt x="901049" y="1606663"/>
                  </a:lnTo>
                  <a:lnTo>
                    <a:pt x="724551" y="1606663"/>
                  </a:lnTo>
                  <a:lnTo>
                    <a:pt x="667232" y="1362823"/>
                  </a:lnTo>
                  <a:cubicBezTo>
                    <a:pt x="569536" y="1336967"/>
                    <a:pt x="480489" y="1285556"/>
                    <a:pt x="409249" y="1213877"/>
                  </a:cubicBezTo>
                  <a:lnTo>
                    <a:pt x="169419" y="1286157"/>
                  </a:lnTo>
                  <a:lnTo>
                    <a:pt x="81170" y="1133306"/>
                  </a:lnTo>
                  <a:lnTo>
                    <a:pt x="263682" y="961746"/>
                  </a:lnTo>
                  <a:cubicBezTo>
                    <a:pt x="237226" y="864211"/>
                    <a:pt x="237226" y="761389"/>
                    <a:pt x="263682" y="663853"/>
                  </a:cubicBezTo>
                  <a:lnTo>
                    <a:pt x="81170" y="492294"/>
                  </a:lnTo>
                  <a:lnTo>
                    <a:pt x="169419" y="339443"/>
                  </a:lnTo>
                  <a:lnTo>
                    <a:pt x="409250" y="411723"/>
                  </a:lnTo>
                  <a:cubicBezTo>
                    <a:pt x="480490" y="340044"/>
                    <a:pt x="569537" y="288633"/>
                    <a:pt x="667233" y="262777"/>
                  </a:cubicBezTo>
                  <a:lnTo>
                    <a:pt x="724551" y="18937"/>
                  </a:lnTo>
                  <a:lnTo>
                    <a:pt x="901049" y="18937"/>
                  </a:lnTo>
                  <a:lnTo>
                    <a:pt x="958368" y="262777"/>
                  </a:lnTo>
                  <a:cubicBezTo>
                    <a:pt x="1056064" y="288633"/>
                    <a:pt x="1145111" y="340044"/>
                    <a:pt x="1216351" y="411723"/>
                  </a:cubicBezTo>
                  <a:lnTo>
                    <a:pt x="1216350" y="411723"/>
                  </a:lnTo>
                  <a:close/>
                </a:path>
              </a:pathLst>
            </a:custGeom>
            <a:scene3d>
              <a:camera prst="orthographicFront"/>
              <a:lightRig rig="flat" dir="t"/>
            </a:scene3d>
            <a:sp3d prstMaterial="plastic">
              <a:bevelT w="120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23220" tIns="425693" rIns="423220" bIns="425693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1100" b="1" kern="1200" dirty="0"/>
            </a:p>
          </p:txBody>
        </p:sp>
        <p:sp>
          <p:nvSpPr>
            <p:cNvPr id="32" name="Rectangle 31"/>
            <p:cNvSpPr/>
            <p:nvPr/>
          </p:nvSpPr>
          <p:spPr>
            <a:xfrm>
              <a:off x="5469615" y="4338909"/>
              <a:ext cx="1395137" cy="108123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5240" tIns="15240" rIns="15240" bIns="15240" numCol="1" spcCol="1270" anchor="ctr" anchorCtr="0">
              <a:noAutofit/>
            </a:bodyPr>
            <a:lstStyle/>
            <a:p>
              <a:pPr lvl="0" algn="ctr" defTabSz="533400"/>
              <a:r>
                <a:rPr lang="en-US" sz="1200" b="1" kern="1200" dirty="0" smtClean="0"/>
                <a:t>More </a:t>
              </a:r>
            </a:p>
            <a:p>
              <a:pPr lvl="0" algn="ctr" defTabSz="533400"/>
              <a:r>
                <a:rPr lang="en-US" sz="1200" b="1" dirty="0"/>
                <a:t>s</a:t>
              </a:r>
              <a:r>
                <a:rPr lang="en-US" sz="1200" b="1" kern="1200" dirty="0" smtClean="0"/>
                <a:t>yndication </a:t>
              </a:r>
            </a:p>
            <a:p>
              <a:pPr lvl="0" algn="ctr" defTabSz="533400"/>
              <a:r>
                <a:rPr lang="en-US" sz="1200" b="1" kern="1200" dirty="0" smtClean="0"/>
                <a:t>partners</a:t>
              </a:r>
              <a:endParaRPr lang="en-US" sz="1200" b="1" kern="1200" dirty="0"/>
            </a:p>
          </p:txBody>
        </p:sp>
        <p:sp>
          <p:nvSpPr>
            <p:cNvPr id="33" name="Rectangle 32"/>
            <p:cNvSpPr/>
            <p:nvPr/>
          </p:nvSpPr>
          <p:spPr>
            <a:xfrm>
              <a:off x="4161958" y="5341333"/>
              <a:ext cx="1222284" cy="76332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5240" tIns="15240" rIns="15240" bIns="15240" numCol="1" spcCol="1270" anchor="ctr" anchorCtr="0">
              <a:noAutofit/>
            </a:bodyPr>
            <a:lstStyle/>
            <a:p>
              <a:pPr lvl="0" algn="ctr" defTabSz="533400"/>
              <a:r>
                <a:rPr lang="en-US" sz="1200" b="1" dirty="0" smtClean="0"/>
                <a:t>More data, </a:t>
              </a:r>
              <a:r>
                <a:rPr lang="en-US" sz="1200" b="1" dirty="0"/>
                <a:t>better publisher-side algorithms</a:t>
              </a:r>
              <a:endParaRPr lang="en-US" sz="1200" b="1" kern="1200" dirty="0"/>
            </a:p>
          </p:txBody>
        </p:sp>
        <p:sp>
          <p:nvSpPr>
            <p:cNvPr id="34" name="Circular Arrow 33"/>
            <p:cNvSpPr/>
            <p:nvPr/>
          </p:nvSpPr>
          <p:spPr>
            <a:xfrm rot="20331793">
              <a:off x="3000432" y="2321086"/>
              <a:ext cx="990810" cy="1092545"/>
            </a:xfrm>
            <a:prstGeom prst="circularArrow">
              <a:avLst>
                <a:gd name="adj1" fmla="val 7111"/>
                <a:gd name="adj2" fmla="val 1142319"/>
                <a:gd name="adj3" fmla="val 20359791"/>
                <a:gd name="adj4" fmla="val 10021935"/>
                <a:gd name="adj5" fmla="val 12500"/>
              </a:avLst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spAutoFit/>
            </a:bodyPr>
            <a:lstStyle/>
            <a:p>
              <a:pPr algn="ctr"/>
              <a:endParaRPr lang="en-US" sz="1200" dirty="0" smtClean="0">
                <a:solidFill>
                  <a:srgbClr val="FF0000"/>
                </a:solidFill>
              </a:endParaRPr>
            </a:p>
          </p:txBody>
        </p:sp>
        <p:sp>
          <p:nvSpPr>
            <p:cNvPr id="35" name="Circular Arrow 34"/>
            <p:cNvSpPr/>
            <p:nvPr/>
          </p:nvSpPr>
          <p:spPr>
            <a:xfrm rot="3760007">
              <a:off x="4439292" y="2514171"/>
              <a:ext cx="990810" cy="1092545"/>
            </a:xfrm>
            <a:prstGeom prst="circularArrow">
              <a:avLst>
                <a:gd name="adj1" fmla="val 7111"/>
                <a:gd name="adj2" fmla="val 1142319"/>
                <a:gd name="adj3" fmla="val 20359791"/>
                <a:gd name="adj4" fmla="val 10021935"/>
                <a:gd name="adj5" fmla="val 12500"/>
              </a:avLst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spAutoFit/>
            </a:bodyPr>
            <a:lstStyle/>
            <a:p>
              <a:pPr algn="ctr"/>
              <a:endParaRPr lang="en-US" sz="1200" dirty="0" smtClean="0">
                <a:solidFill>
                  <a:srgbClr val="FF0000"/>
                </a:solidFill>
              </a:endParaRPr>
            </a:p>
          </p:txBody>
        </p:sp>
      </p:grpSp>
      <p:sp>
        <p:nvSpPr>
          <p:cNvPr id="36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672105"/>
            <a:ext cx="2133600" cy="190042"/>
          </a:xfrm>
        </p:spPr>
        <p:txBody>
          <a:bodyPr/>
          <a:lstStyle/>
          <a:p>
            <a:fld id="{0F76A134-770F-4BF4-8849-956DF025AE3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7" name="Oval 36"/>
          <p:cNvSpPr/>
          <p:nvPr/>
        </p:nvSpPr>
        <p:spPr>
          <a:xfrm>
            <a:off x="6858000" y="1765533"/>
            <a:ext cx="1981200" cy="838200"/>
          </a:xfrm>
          <a:prstGeom prst="ellipse">
            <a:avLst/>
          </a:prstGeom>
          <a:gradFill>
            <a:gsLst>
              <a:gs pos="0">
                <a:srgbClr val="D6B19C"/>
              </a:gs>
              <a:gs pos="30000">
                <a:srgbClr val="D49E6C"/>
              </a:gs>
              <a:gs pos="70000">
                <a:srgbClr val="A65528"/>
              </a:gs>
              <a:gs pos="100000">
                <a:srgbClr val="663012"/>
              </a:gs>
            </a:gsLst>
            <a:lin ang="950000" scaled="0"/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dirty="0" smtClean="0">
                <a:solidFill>
                  <a:schemeClr val="tx1"/>
                </a:solidFill>
              </a:rPr>
              <a:t>Advertiser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8" name="Oval 37"/>
          <p:cNvSpPr/>
          <p:nvPr/>
        </p:nvSpPr>
        <p:spPr>
          <a:xfrm>
            <a:off x="6257315" y="5252426"/>
            <a:ext cx="1981200" cy="838200"/>
          </a:xfrm>
          <a:prstGeom prst="ellipse">
            <a:avLst/>
          </a:prstGeom>
          <a:gradFill>
            <a:gsLst>
              <a:gs pos="0">
                <a:srgbClr val="D6B19C"/>
              </a:gs>
              <a:gs pos="30000">
                <a:srgbClr val="D49E6C"/>
              </a:gs>
              <a:gs pos="70000">
                <a:srgbClr val="A65528"/>
              </a:gs>
              <a:gs pos="100000">
                <a:srgbClr val="663012"/>
              </a:gs>
            </a:gsLst>
            <a:lin ang="950000" scaled="0"/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dirty="0" smtClean="0">
                <a:solidFill>
                  <a:schemeClr val="tx1"/>
                </a:solidFill>
              </a:rPr>
              <a:t>Publisher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9" name="Oval 38"/>
          <p:cNvSpPr/>
          <p:nvPr/>
        </p:nvSpPr>
        <p:spPr>
          <a:xfrm>
            <a:off x="528882" y="3978820"/>
            <a:ext cx="1981200" cy="838200"/>
          </a:xfrm>
          <a:prstGeom prst="ellipse">
            <a:avLst/>
          </a:prstGeom>
          <a:gradFill>
            <a:gsLst>
              <a:gs pos="0">
                <a:srgbClr val="D6B19C"/>
              </a:gs>
              <a:gs pos="30000">
                <a:srgbClr val="D49E6C"/>
              </a:gs>
              <a:gs pos="70000">
                <a:srgbClr val="A65528"/>
              </a:gs>
              <a:gs pos="100000">
                <a:srgbClr val="663012"/>
              </a:gs>
            </a:gsLst>
            <a:lin ang="950000" scaled="0"/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dirty="0" smtClean="0">
                <a:solidFill>
                  <a:schemeClr val="tx1"/>
                </a:solidFill>
              </a:rPr>
              <a:t>Partners and Website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0" name="Oval 39"/>
          <p:cNvSpPr/>
          <p:nvPr/>
        </p:nvSpPr>
        <p:spPr>
          <a:xfrm>
            <a:off x="1192399" y="1181570"/>
            <a:ext cx="1981200" cy="838200"/>
          </a:xfrm>
          <a:prstGeom prst="ellipse">
            <a:avLst/>
          </a:prstGeom>
          <a:gradFill>
            <a:gsLst>
              <a:gs pos="0">
                <a:srgbClr val="D6B19C"/>
              </a:gs>
              <a:gs pos="30000">
                <a:srgbClr val="D49E6C"/>
              </a:gs>
              <a:gs pos="70000">
                <a:srgbClr val="A65528"/>
              </a:gs>
              <a:gs pos="100000">
                <a:srgbClr val="663012"/>
              </a:gs>
            </a:gsLst>
            <a:lin ang="950000" scaled="0"/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dirty="0" smtClean="0">
                <a:solidFill>
                  <a:schemeClr val="tx1"/>
                </a:solidFill>
              </a:rPr>
              <a:t>Search users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74748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129" name="Group 64"/>
          <p:cNvGrpSpPr>
            <a:grpSpLocks/>
          </p:cNvGrpSpPr>
          <p:nvPr/>
        </p:nvGrpSpPr>
        <p:grpSpPr bwMode="auto">
          <a:xfrm>
            <a:off x="4562475" y="1316038"/>
            <a:ext cx="4581525" cy="5541962"/>
            <a:chOff x="4561952" y="1316334"/>
            <a:chExt cx="4582048" cy="5541666"/>
          </a:xfrm>
        </p:grpSpPr>
        <p:sp>
          <p:nvSpPr>
            <p:cNvPr id="48153" name="Rectangle 20"/>
            <p:cNvSpPr>
              <a:spLocks noChangeArrowheads="1"/>
            </p:cNvSpPr>
            <p:nvPr/>
          </p:nvSpPr>
          <p:spPr bwMode="auto">
            <a:xfrm>
              <a:off x="4579938" y="1316334"/>
              <a:ext cx="4564062" cy="5541666"/>
            </a:xfrm>
            <a:prstGeom prst="rect">
              <a:avLst/>
            </a:prstGeom>
            <a:solidFill>
              <a:srgbClr val="D9D9D9">
                <a:alpha val="39999"/>
              </a:srgbClr>
            </a:soli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4561952" y="1378243"/>
              <a:ext cx="4582048" cy="46193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400" b="1" u="sng" dirty="0">
                  <a:solidFill>
                    <a:schemeClr val="bg2">
                      <a:lumMod val="75000"/>
                    </a:schemeClr>
                  </a:solidFill>
                  <a:latin typeface="Calibri" pitchFamily="34" charset="0"/>
                </a:rPr>
                <a:t>Worldwide</a:t>
              </a:r>
            </a:p>
          </p:txBody>
        </p:sp>
        <p:grpSp>
          <p:nvGrpSpPr>
            <p:cNvPr id="48155" name="Group 63"/>
            <p:cNvGrpSpPr>
              <a:grpSpLocks/>
            </p:cNvGrpSpPr>
            <p:nvPr/>
          </p:nvGrpSpPr>
          <p:grpSpPr bwMode="auto">
            <a:xfrm>
              <a:off x="4748646" y="1935480"/>
              <a:ext cx="3712067" cy="4251045"/>
              <a:chOff x="4748646" y="1896843"/>
              <a:chExt cx="3712067" cy="4251045"/>
            </a:xfrm>
          </p:grpSpPr>
          <p:cxnSp>
            <p:nvCxnSpPr>
              <p:cNvPr id="48156" name="Straight Connector 57"/>
              <p:cNvCxnSpPr>
                <a:cxnSpLocks noChangeShapeType="1"/>
              </p:cNvCxnSpPr>
              <p:nvPr/>
            </p:nvCxnSpPr>
            <p:spPr bwMode="auto">
              <a:xfrm rot="5400000" flipH="1" flipV="1">
                <a:off x="6602184" y="2725657"/>
                <a:ext cx="610439" cy="1677"/>
              </a:xfrm>
              <a:prstGeom prst="line">
                <a:avLst/>
              </a:prstGeom>
              <a:noFill/>
              <a:ln w="28575" algn="ctr">
                <a:solidFill>
                  <a:schemeClr val="tx1"/>
                </a:solidFill>
                <a:round/>
                <a:headEnd/>
                <a:tailEnd/>
              </a:ln>
            </p:spPr>
          </p:cxnSp>
          <p:cxnSp>
            <p:nvCxnSpPr>
              <p:cNvPr id="48157" name="Straight Connector 56"/>
              <p:cNvCxnSpPr>
                <a:cxnSpLocks noChangeShapeType="1"/>
              </p:cNvCxnSpPr>
              <p:nvPr/>
            </p:nvCxnSpPr>
            <p:spPr bwMode="auto">
              <a:xfrm rot="5400000" flipH="1" flipV="1">
                <a:off x="6691782" y="5355441"/>
                <a:ext cx="610439" cy="1677"/>
              </a:xfrm>
              <a:prstGeom prst="line">
                <a:avLst/>
              </a:prstGeom>
              <a:noFill/>
              <a:ln w="28575" algn="ctr">
                <a:solidFill>
                  <a:srgbClr val="FF3300"/>
                </a:solidFill>
                <a:round/>
                <a:headEnd/>
                <a:tailEnd/>
              </a:ln>
            </p:spPr>
          </p:cxnSp>
          <p:cxnSp>
            <p:nvCxnSpPr>
              <p:cNvPr id="48158" name="Straight Connector 40"/>
              <p:cNvCxnSpPr>
                <a:cxnSpLocks noChangeShapeType="1"/>
              </p:cNvCxnSpPr>
              <p:nvPr/>
            </p:nvCxnSpPr>
            <p:spPr bwMode="auto">
              <a:xfrm rot="16200000" flipV="1">
                <a:off x="6198178" y="2686050"/>
                <a:ext cx="498764" cy="238992"/>
              </a:xfrm>
              <a:prstGeom prst="line">
                <a:avLst/>
              </a:prstGeom>
              <a:noFill/>
              <a:ln w="28575" algn="ctr">
                <a:solidFill>
                  <a:srgbClr val="00B050"/>
                </a:solidFill>
                <a:round/>
                <a:headEnd/>
                <a:tailEnd/>
              </a:ln>
            </p:spPr>
          </p:cxnSp>
          <p:sp>
            <p:nvSpPr>
              <p:cNvPr id="4" name="Freeform 3"/>
              <p:cNvSpPr>
                <a:spLocks/>
              </p:cNvSpPr>
              <p:nvPr/>
            </p:nvSpPr>
            <p:spPr bwMode="auto">
              <a:xfrm>
                <a:off x="6135935" y="2562413"/>
                <a:ext cx="837623" cy="1487157"/>
              </a:xfrm>
              <a:custGeom>
                <a:avLst/>
                <a:gdLst/>
                <a:ahLst/>
                <a:cxnLst>
                  <a:cxn ang="0">
                    <a:pos x="82" y="0"/>
                  </a:cxn>
                  <a:cxn ang="0">
                    <a:pos x="0" y="29"/>
                  </a:cxn>
                  <a:cxn ang="0">
                    <a:pos x="98" y="174"/>
                  </a:cxn>
                  <a:cxn ang="0">
                    <a:pos x="82" y="0"/>
                  </a:cxn>
                </a:cxnLst>
                <a:rect l="0" t="0" r="r" b="b"/>
                <a:pathLst>
                  <a:path w="98" h="174">
                    <a:moveTo>
                      <a:pt x="82" y="0"/>
                    </a:moveTo>
                    <a:cubicBezTo>
                      <a:pt x="53" y="3"/>
                      <a:pt x="25" y="13"/>
                      <a:pt x="0" y="29"/>
                    </a:cubicBezTo>
                    <a:lnTo>
                      <a:pt x="98" y="174"/>
                    </a:lnTo>
                    <a:lnTo>
                      <a:pt x="82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00CC66">
                      <a:shade val="30000"/>
                      <a:satMod val="115000"/>
                    </a:srgbClr>
                  </a:gs>
                  <a:gs pos="50000">
                    <a:srgbClr val="00CC66">
                      <a:shade val="67500"/>
                      <a:satMod val="115000"/>
                    </a:srgbClr>
                  </a:gs>
                  <a:gs pos="100000">
                    <a:srgbClr val="00CC66">
                      <a:shade val="100000"/>
                      <a:satMod val="115000"/>
                    </a:srgbClr>
                  </a:gs>
                </a:gsLst>
                <a:lin ang="2700000" scaled="1"/>
                <a:tileRect/>
              </a:gradFill>
              <a:ln w="9525">
                <a:noFill/>
                <a:prstDash val="solid"/>
                <a:round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/>
              <a:lstStyle/>
              <a:p>
                <a:pPr algn="ctr">
                  <a:defRPr/>
                </a:pPr>
                <a:endParaRPr lang="en-US" sz="280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1028" name="Freeform 4"/>
              <p:cNvSpPr>
                <a:spLocks/>
              </p:cNvSpPr>
              <p:nvPr/>
            </p:nvSpPr>
            <p:spPr bwMode="auto">
              <a:xfrm>
                <a:off x="6838133" y="2556018"/>
                <a:ext cx="161520" cy="1493552"/>
              </a:xfrm>
              <a:custGeom>
                <a:avLst/>
                <a:gdLst>
                  <a:gd name="connsiteX0" fmla="*/ 11719 w 11927"/>
                  <a:gd name="connsiteY0" fmla="*/ 0 h 10043"/>
                  <a:gd name="connsiteX1" fmla="*/ 0 w 11927"/>
                  <a:gd name="connsiteY1" fmla="*/ 43 h 10043"/>
                  <a:gd name="connsiteX2" fmla="*/ 10000 w 11927"/>
                  <a:gd name="connsiteY2" fmla="*/ 10043 h 10043"/>
                  <a:gd name="connsiteX3" fmla="*/ 11719 w 11927"/>
                  <a:gd name="connsiteY3" fmla="*/ 0 h 10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927" h="10043">
                    <a:moveTo>
                      <a:pt x="11719" y="0"/>
                    </a:moveTo>
                    <a:lnTo>
                      <a:pt x="0" y="43"/>
                    </a:lnTo>
                    <a:lnTo>
                      <a:pt x="10000" y="10043"/>
                    </a:lnTo>
                    <a:cubicBezTo>
                      <a:pt x="9792" y="6710"/>
                      <a:pt x="11927" y="3333"/>
                      <a:pt x="11719" y="0"/>
                    </a:cubicBezTo>
                    <a:close/>
                  </a:path>
                </a:pathLst>
              </a:custGeom>
              <a:solidFill>
                <a:srgbClr val="FFFF00"/>
              </a:solidFill>
              <a:ln w="9525">
                <a:noFill/>
                <a:prstDash val="solid"/>
                <a:round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/>
              <a:lstStyle/>
              <a:p>
                <a:pPr algn="ctr">
                  <a:defRPr/>
                </a:pPr>
                <a:endParaRPr lang="en-US" sz="280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3" name="Freeform 2"/>
              <p:cNvSpPr>
                <a:spLocks/>
              </p:cNvSpPr>
              <p:nvPr/>
            </p:nvSpPr>
            <p:spPr bwMode="auto">
              <a:xfrm>
                <a:off x="5486400" y="2562413"/>
                <a:ext cx="2974313" cy="2974313"/>
              </a:xfrm>
              <a:custGeom>
                <a:avLst/>
                <a:gdLst/>
                <a:ahLst/>
                <a:cxnLst>
                  <a:cxn ang="0">
                    <a:pos x="76" y="29"/>
                  </a:cxn>
                  <a:cxn ang="0">
                    <a:pos x="0" y="173"/>
                  </a:cxn>
                  <a:cxn ang="0">
                    <a:pos x="174" y="348"/>
                  </a:cxn>
                  <a:cxn ang="0">
                    <a:pos x="348" y="174"/>
                  </a:cxn>
                  <a:cxn ang="0">
                    <a:pos x="174" y="0"/>
                  </a:cxn>
                  <a:cxn ang="0">
                    <a:pos x="174" y="174"/>
                  </a:cxn>
                  <a:cxn ang="0">
                    <a:pos x="76" y="29"/>
                  </a:cxn>
                </a:cxnLst>
                <a:rect l="0" t="0" r="r" b="b"/>
                <a:pathLst>
                  <a:path w="348" h="348">
                    <a:moveTo>
                      <a:pt x="76" y="29"/>
                    </a:moveTo>
                    <a:cubicBezTo>
                      <a:pt x="28" y="62"/>
                      <a:pt x="0" y="116"/>
                      <a:pt x="0" y="173"/>
                    </a:cubicBezTo>
                    <a:cubicBezTo>
                      <a:pt x="0" y="270"/>
                      <a:pt x="77" y="348"/>
                      <a:pt x="174" y="348"/>
                    </a:cubicBezTo>
                    <a:cubicBezTo>
                      <a:pt x="270" y="348"/>
                      <a:pt x="348" y="270"/>
                      <a:pt x="348" y="174"/>
                    </a:cubicBezTo>
                    <a:cubicBezTo>
                      <a:pt x="348" y="77"/>
                      <a:pt x="270" y="0"/>
                      <a:pt x="174" y="0"/>
                    </a:cubicBezTo>
                    <a:lnTo>
                      <a:pt x="174" y="174"/>
                    </a:lnTo>
                    <a:lnTo>
                      <a:pt x="76" y="29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FF3300">
                      <a:shade val="30000"/>
                      <a:satMod val="115000"/>
                    </a:srgbClr>
                  </a:gs>
                  <a:gs pos="50000">
                    <a:srgbClr val="FF3300">
                      <a:shade val="67500"/>
                      <a:satMod val="115000"/>
                    </a:srgbClr>
                  </a:gs>
                  <a:gs pos="100000">
                    <a:srgbClr val="FF3300">
                      <a:shade val="100000"/>
                      <a:satMod val="115000"/>
                    </a:srgbClr>
                  </a:gs>
                </a:gsLst>
                <a:lin ang="5400000" scaled="1"/>
                <a:tileRect/>
              </a:gradFill>
              <a:ln w="9525">
                <a:noFill/>
                <a:prstDash val="solid"/>
                <a:round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/>
              <a:lstStyle/>
              <a:p>
                <a:pPr algn="ctr">
                  <a:defRPr/>
                </a:pPr>
                <a:endParaRPr lang="en-US" sz="2800">
                  <a:solidFill>
                    <a:srgbClr val="000000"/>
                  </a:solidFill>
                  <a:latin typeface="+mn-lt"/>
                </a:endParaRPr>
              </a:p>
            </p:txBody>
          </p:sp>
          <p:pic>
            <p:nvPicPr>
              <p:cNvPr id="48168" name="Picture 19" descr="http://t3.gstatic.com/images?q=tbn:ANd9GcRv305Cs7EOHA2_Shb9ySgikV8-BVYVfJykI42w0lUxBbiof_jKZQ"/>
              <p:cNvPicPr>
                <a:picLocks noChangeAspect="1" noChangeArrowheads="1"/>
              </p:cNvPicPr>
              <p:nvPr/>
            </p:nvPicPr>
            <p:blipFill>
              <a:blip r:embed="rId3" cstate="print">
                <a:clrChange>
                  <a:clrFrom>
                    <a:srgbClr val="FBFFFF"/>
                  </a:clrFrom>
                  <a:clrTo>
                    <a:srgbClr val="FB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5697946" y="2249117"/>
                <a:ext cx="895793" cy="23466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48169" name="TextBox 39"/>
              <p:cNvSpPr txBox="1">
                <a:spLocks noChangeArrowheads="1"/>
              </p:cNvSpPr>
              <p:nvPr/>
            </p:nvSpPr>
            <p:spPr bwMode="auto">
              <a:xfrm>
                <a:off x="5479705" y="2173686"/>
                <a:ext cx="205110" cy="30248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/>
                <a:r>
                  <a:rPr lang="en-US" sz="2000">
                    <a:solidFill>
                      <a:srgbClr val="000000"/>
                    </a:solidFill>
                  </a:rPr>
                  <a:t>+</a:t>
                </a:r>
              </a:p>
            </p:txBody>
          </p:sp>
          <p:pic>
            <p:nvPicPr>
              <p:cNvPr id="48170" name="Picture 6" descr="C:\Documents and Settings\cverene\Desktop\bing-logo copy.png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 t="21466" b="21989"/>
              <a:stretch>
                <a:fillRect/>
              </a:stretch>
            </p:blipFill>
            <p:spPr bwMode="auto">
              <a:xfrm>
                <a:off x="4748646" y="2215348"/>
                <a:ext cx="744918" cy="30967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48171" name="TextBox 52"/>
              <p:cNvSpPr txBox="1">
                <a:spLocks noChangeArrowheads="1"/>
              </p:cNvSpPr>
              <p:nvPr/>
            </p:nvSpPr>
            <p:spPr bwMode="auto">
              <a:xfrm>
                <a:off x="6113439" y="4387782"/>
                <a:ext cx="1935679" cy="64633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/>
                <a:r>
                  <a:rPr lang="en-US" sz="3600" b="1">
                    <a:solidFill>
                      <a:srgbClr val="000000"/>
                    </a:solidFill>
                  </a:rPr>
                  <a:t>90.5%</a:t>
                </a:r>
              </a:p>
            </p:txBody>
          </p:sp>
          <p:sp>
            <p:nvSpPr>
              <p:cNvPr id="48172" name="TextBox 53"/>
              <p:cNvSpPr txBox="1">
                <a:spLocks noChangeArrowheads="1"/>
              </p:cNvSpPr>
              <p:nvPr/>
            </p:nvSpPr>
            <p:spPr bwMode="auto">
              <a:xfrm>
                <a:off x="6261761" y="2819400"/>
                <a:ext cx="668976" cy="40011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/>
                <a:r>
                  <a:rPr lang="en-US" sz="2000" b="1">
                    <a:solidFill>
                      <a:srgbClr val="000000"/>
                    </a:solidFill>
                  </a:rPr>
                  <a:t>8%</a:t>
                </a:r>
              </a:p>
            </p:txBody>
          </p:sp>
          <p:sp>
            <p:nvSpPr>
              <p:cNvPr id="48173" name="TextBox 54"/>
              <p:cNvSpPr txBox="1">
                <a:spLocks noChangeArrowheads="1"/>
              </p:cNvSpPr>
              <p:nvPr/>
            </p:nvSpPr>
            <p:spPr bwMode="auto">
              <a:xfrm>
                <a:off x="6757997" y="1896843"/>
                <a:ext cx="1143000" cy="5232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r>
                  <a:rPr lang="en-US" sz="1400">
                    <a:solidFill>
                      <a:srgbClr val="000000"/>
                    </a:solidFill>
                  </a:rPr>
                  <a:t>Other</a:t>
                </a:r>
              </a:p>
              <a:p>
                <a:r>
                  <a:rPr lang="en-US" sz="1400" b="1">
                    <a:solidFill>
                      <a:srgbClr val="000000"/>
                    </a:solidFill>
                  </a:rPr>
                  <a:t>1.5%</a:t>
                </a:r>
              </a:p>
            </p:txBody>
          </p:sp>
          <p:pic>
            <p:nvPicPr>
              <p:cNvPr id="48174" name="Picture 11" descr="http://www.cyberbits.net/wp-content/uploads/2011/02/google-logo.jpg"/>
              <p:cNvPicPr>
                <a:picLocks noChangeAspect="1" noChangeArrowheads="1"/>
              </p:cNvPicPr>
              <p:nvPr/>
            </p:nvPicPr>
            <p:blipFill>
              <a:blip r:embed="rId5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 t="25667" b="23334"/>
              <a:stretch>
                <a:fillRect/>
              </a:stretch>
            </p:blipFill>
            <p:spPr bwMode="auto">
              <a:xfrm>
                <a:off x="6283074" y="5641516"/>
                <a:ext cx="1489326" cy="50637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</p:grpSp>
      <p:sp>
        <p:nvSpPr>
          <p:cNvPr id="48130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-104775"/>
            <a:ext cx="9144000" cy="866775"/>
          </a:xfrm>
        </p:spPr>
        <p:txBody>
          <a:bodyPr anchor="b"/>
          <a:lstStyle/>
          <a:p>
            <a:pPr algn="ctr">
              <a:lnSpc>
                <a:spcPts val="2800"/>
              </a:lnSpc>
            </a:pPr>
            <a:r>
              <a:rPr lang="en-US" b="1" dirty="0" smtClean="0">
                <a:latin typeface="Calibri" pitchFamily="34" charset="0"/>
              </a:rPr>
              <a:t>Search is Concentrated</a:t>
            </a:r>
            <a:endParaRPr lang="en-US" sz="3200" b="1" dirty="0" smtClean="0">
              <a:latin typeface="Calibri" pitchFamily="34" charset="0"/>
            </a:endParaRPr>
          </a:p>
        </p:txBody>
      </p:sp>
      <p:sp>
        <p:nvSpPr>
          <p:cNvPr id="48131" name="TextBox 38"/>
          <p:cNvSpPr txBox="1">
            <a:spLocks noChangeArrowheads="1"/>
          </p:cNvSpPr>
          <p:nvPr/>
        </p:nvSpPr>
        <p:spPr bwMode="auto">
          <a:xfrm>
            <a:off x="0" y="6324600"/>
            <a:ext cx="2933700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90488" indent="-90488"/>
            <a:r>
              <a:rPr lang="en-US" sz="1400">
                <a:solidFill>
                  <a:srgbClr val="000000"/>
                </a:solidFill>
                <a:latin typeface="Calibri" pitchFamily="34" charset="0"/>
              </a:rPr>
              <a:t>*March 2011 comScore figures (includes search partners)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374744" y="6618513"/>
            <a:ext cx="725713" cy="21544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>
              <a:defRPr/>
            </a:pPr>
            <a:fld id="{31EDA4CB-9873-4DFA-A6FF-6D5187A4C793}" type="slidenum">
              <a:rPr lang="en-US" sz="1400">
                <a:gradFill>
                  <a:gsLst>
                    <a:gs pos="0">
                      <a:srgbClr val="000000"/>
                    </a:gs>
                    <a:gs pos="86000">
                      <a:srgbClr val="000000"/>
                    </a:gs>
                  </a:gsLst>
                  <a:lin ang="5400000" scaled="0"/>
                </a:gradFill>
                <a:latin typeface="+mn-lt"/>
              </a:rPr>
              <a:pPr algn="r">
                <a:defRPr/>
              </a:pPr>
              <a:t>11</a:t>
            </a:fld>
            <a:endParaRPr lang="en-US" sz="1400" dirty="0" err="1">
              <a:gradFill>
                <a:gsLst>
                  <a:gs pos="0">
                    <a:srgbClr val="000000"/>
                  </a:gs>
                  <a:gs pos="86000">
                    <a:srgbClr val="000000"/>
                  </a:gs>
                </a:gsLst>
                <a:lin ang="5400000" scaled="0"/>
              </a:gradFill>
              <a:latin typeface="+mn-lt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-9525" y="1377950"/>
            <a:ext cx="4581525" cy="4619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b="1" u="sng" dirty="0">
                <a:solidFill>
                  <a:schemeClr val="bg2">
                    <a:lumMod val="75000"/>
                  </a:schemeClr>
                </a:solidFill>
                <a:latin typeface="Calibri" pitchFamily="34" charset="0"/>
              </a:rPr>
              <a:t>United States</a:t>
            </a:r>
          </a:p>
        </p:txBody>
      </p:sp>
      <p:cxnSp>
        <p:nvCxnSpPr>
          <p:cNvPr id="48136" name="Straight Connector 29"/>
          <p:cNvCxnSpPr>
            <a:cxnSpLocks noChangeShapeType="1"/>
          </p:cNvCxnSpPr>
          <p:nvPr/>
        </p:nvCxnSpPr>
        <p:spPr bwMode="auto">
          <a:xfrm rot="5400000" flipH="1" flipV="1">
            <a:off x="1955007" y="2774156"/>
            <a:ext cx="609600" cy="1587"/>
          </a:xfrm>
          <a:prstGeom prst="line">
            <a:avLst/>
          </a:prstGeom>
          <a:noFill/>
          <a:ln w="28575" algn="ctr">
            <a:solidFill>
              <a:srgbClr val="00B050"/>
            </a:solidFill>
            <a:round/>
            <a:headEnd/>
            <a:tailEnd/>
          </a:ln>
        </p:spPr>
      </p:cxnSp>
      <p:pic>
        <p:nvPicPr>
          <p:cNvPr id="48137" name="Picture 11" descr="http://www.cyberbits.net/wp-content/uploads/2011/02/google-logo.jpg"/>
          <p:cNvPicPr>
            <a:picLocks noChangeAspect="1" noChangeArrowheads="1"/>
          </p:cNvPicPr>
          <p:nvPr/>
        </p:nvPicPr>
        <p:blipFill>
          <a:blip r:embed="rId5" cstate="print"/>
          <a:srcRect t="25667" b="23334"/>
          <a:stretch>
            <a:fillRect/>
          </a:stretch>
        </p:blipFill>
        <p:spPr bwMode="auto">
          <a:xfrm>
            <a:off x="1495425" y="5680075"/>
            <a:ext cx="1489075" cy="506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48138" name="Straight Connector 18"/>
          <p:cNvCxnSpPr>
            <a:cxnSpLocks noChangeShapeType="1"/>
          </p:cNvCxnSpPr>
          <p:nvPr/>
        </p:nvCxnSpPr>
        <p:spPr bwMode="auto">
          <a:xfrm rot="5400000" flipH="1" flipV="1">
            <a:off x="1903413" y="5394325"/>
            <a:ext cx="611188" cy="1587"/>
          </a:xfrm>
          <a:prstGeom prst="line">
            <a:avLst/>
          </a:prstGeom>
          <a:noFill/>
          <a:ln w="28575" algn="ctr">
            <a:solidFill>
              <a:srgbClr val="FF3300"/>
            </a:solidFill>
            <a:round/>
            <a:headEnd/>
            <a:tailEnd/>
          </a:ln>
        </p:spPr>
      </p:cxnSp>
      <p:grpSp>
        <p:nvGrpSpPr>
          <p:cNvPr id="48139" name="Group 33"/>
          <p:cNvGrpSpPr>
            <a:grpSpLocks/>
          </p:cNvGrpSpPr>
          <p:nvPr/>
        </p:nvGrpSpPr>
        <p:grpSpPr bwMode="auto">
          <a:xfrm rot="-348076">
            <a:off x="741363" y="2241550"/>
            <a:ext cx="2906712" cy="3363913"/>
            <a:chOff x="2748010" y="1099146"/>
            <a:chExt cx="4249690" cy="4916315"/>
          </a:xfrm>
        </p:grpSpPr>
        <p:sp>
          <p:nvSpPr>
            <p:cNvPr id="1026" name="Freeform 2"/>
            <p:cNvSpPr>
              <a:spLocks/>
            </p:cNvSpPr>
            <p:nvPr/>
          </p:nvSpPr>
          <p:spPr bwMode="auto">
            <a:xfrm rot="18900000">
              <a:off x="4046161" y="1099146"/>
              <a:ext cx="2174841" cy="2812295"/>
            </a:xfrm>
            <a:custGeom>
              <a:avLst/>
              <a:gdLst/>
              <a:ahLst/>
              <a:cxnLst>
                <a:cxn ang="0">
                  <a:pos x="166" y="225"/>
                </a:cxn>
                <a:cxn ang="0">
                  <a:pos x="174" y="174"/>
                </a:cxn>
                <a:cxn ang="0">
                  <a:pos x="0" y="0"/>
                </a:cxn>
                <a:cxn ang="0">
                  <a:pos x="0" y="174"/>
                </a:cxn>
                <a:cxn ang="0">
                  <a:pos x="166" y="225"/>
                </a:cxn>
              </a:cxnLst>
              <a:rect l="0" t="0" r="r" b="b"/>
              <a:pathLst>
                <a:path w="174" h="225">
                  <a:moveTo>
                    <a:pt x="166" y="225"/>
                  </a:moveTo>
                  <a:cubicBezTo>
                    <a:pt x="171" y="208"/>
                    <a:pt x="174" y="191"/>
                    <a:pt x="174" y="174"/>
                  </a:cubicBezTo>
                  <a:cubicBezTo>
                    <a:pt x="174" y="77"/>
                    <a:pt x="96" y="0"/>
                    <a:pt x="0" y="0"/>
                  </a:cubicBezTo>
                  <a:lnTo>
                    <a:pt x="0" y="174"/>
                  </a:lnTo>
                  <a:lnTo>
                    <a:pt x="166" y="225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CC66">
                    <a:shade val="30000"/>
                    <a:satMod val="115000"/>
                  </a:srgbClr>
                </a:gs>
                <a:gs pos="50000">
                  <a:srgbClr val="00CC66">
                    <a:shade val="67500"/>
                    <a:satMod val="115000"/>
                  </a:srgbClr>
                </a:gs>
                <a:gs pos="100000">
                  <a:srgbClr val="00CC66">
                    <a:shade val="100000"/>
                    <a:satMod val="115000"/>
                  </a:srgbClr>
                </a:gs>
              </a:gsLst>
              <a:lin ang="2700000" scaled="1"/>
              <a:tileRect/>
            </a:gradFill>
            <a:ln w="9525">
              <a:noFill/>
              <a:prstDash val="solid"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/>
            <a:lstStyle/>
            <a:p>
              <a:pPr algn="ctr">
                <a:defRPr/>
              </a:pPr>
              <a:endParaRPr lang="en-US" sz="280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1027" name="Freeform 3"/>
            <p:cNvSpPr>
              <a:spLocks/>
            </p:cNvSpPr>
            <p:nvPr/>
          </p:nvSpPr>
          <p:spPr bwMode="auto">
            <a:xfrm rot="18900000">
              <a:off x="2748010" y="1665778"/>
              <a:ext cx="4249690" cy="4349683"/>
            </a:xfrm>
            <a:custGeom>
              <a:avLst/>
              <a:gdLst/>
              <a:ahLst/>
              <a:cxnLst>
                <a:cxn ang="0">
                  <a:pos x="173" y="0"/>
                </a:cxn>
                <a:cxn ang="0">
                  <a:pos x="0" y="173"/>
                </a:cxn>
                <a:cxn ang="0">
                  <a:pos x="174" y="348"/>
                </a:cxn>
                <a:cxn ang="0">
                  <a:pos x="340" y="225"/>
                </a:cxn>
                <a:cxn ang="0">
                  <a:pos x="174" y="174"/>
                </a:cxn>
                <a:cxn ang="0">
                  <a:pos x="173" y="0"/>
                </a:cxn>
              </a:cxnLst>
              <a:rect l="0" t="0" r="r" b="b"/>
              <a:pathLst>
                <a:path w="340" h="348">
                  <a:moveTo>
                    <a:pt x="173" y="0"/>
                  </a:moveTo>
                  <a:cubicBezTo>
                    <a:pt x="77" y="0"/>
                    <a:pt x="0" y="77"/>
                    <a:pt x="0" y="173"/>
                  </a:cubicBezTo>
                  <a:cubicBezTo>
                    <a:pt x="0" y="270"/>
                    <a:pt x="77" y="348"/>
                    <a:pt x="174" y="348"/>
                  </a:cubicBezTo>
                  <a:cubicBezTo>
                    <a:pt x="250" y="347"/>
                    <a:pt x="317" y="298"/>
                    <a:pt x="340" y="225"/>
                  </a:cubicBezTo>
                  <a:lnTo>
                    <a:pt x="174" y="174"/>
                  </a:lnTo>
                  <a:lnTo>
                    <a:pt x="173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3300">
                    <a:shade val="30000"/>
                    <a:satMod val="115000"/>
                  </a:srgbClr>
                </a:gs>
                <a:gs pos="50000">
                  <a:srgbClr val="FF3300">
                    <a:shade val="67500"/>
                    <a:satMod val="115000"/>
                  </a:srgbClr>
                </a:gs>
                <a:gs pos="100000">
                  <a:srgbClr val="FF3300">
                    <a:shade val="100000"/>
                    <a:satMod val="115000"/>
                  </a:srgbClr>
                </a:gs>
              </a:gsLst>
              <a:lin ang="5400000" scaled="1"/>
              <a:tileRect/>
            </a:gradFill>
            <a:ln w="9525">
              <a:noFill/>
              <a:prstDash val="solid"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/>
            <a:lstStyle/>
            <a:p>
              <a:pPr algn="ctr">
                <a:defRPr/>
              </a:pPr>
              <a:endParaRPr lang="en-US" sz="2800">
                <a:solidFill>
                  <a:srgbClr val="000000"/>
                </a:solidFill>
                <a:latin typeface="+mn-lt"/>
              </a:endParaRPr>
            </a:p>
          </p:txBody>
        </p:sp>
      </p:grpSp>
      <p:sp>
        <p:nvSpPr>
          <p:cNvPr id="48140" name="TextBox 58"/>
          <p:cNvSpPr txBox="1">
            <a:spLocks noChangeArrowheads="1"/>
          </p:cNvSpPr>
          <p:nvPr/>
        </p:nvSpPr>
        <p:spPr bwMode="auto">
          <a:xfrm>
            <a:off x="1292225" y="4362450"/>
            <a:ext cx="1935163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3600" b="1">
                <a:solidFill>
                  <a:srgbClr val="000000"/>
                </a:solidFill>
              </a:rPr>
              <a:t>70.4%</a:t>
            </a:r>
          </a:p>
        </p:txBody>
      </p:sp>
      <p:sp>
        <p:nvSpPr>
          <p:cNvPr id="48141" name="TextBox 59"/>
          <p:cNvSpPr txBox="1">
            <a:spLocks noChangeArrowheads="1"/>
          </p:cNvSpPr>
          <p:nvPr/>
        </p:nvSpPr>
        <p:spPr bwMode="auto">
          <a:xfrm>
            <a:off x="1654175" y="3041650"/>
            <a:ext cx="1219200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2400" b="1">
                <a:solidFill>
                  <a:srgbClr val="000000"/>
                </a:solidFill>
              </a:rPr>
              <a:t>29.6%</a:t>
            </a:r>
          </a:p>
        </p:txBody>
      </p:sp>
      <p:grpSp>
        <p:nvGrpSpPr>
          <p:cNvPr id="48142" name="Group 48"/>
          <p:cNvGrpSpPr>
            <a:grpSpLocks/>
          </p:cNvGrpSpPr>
          <p:nvPr/>
        </p:nvGrpSpPr>
        <p:grpSpPr bwMode="auto">
          <a:xfrm>
            <a:off x="1423988" y="2108200"/>
            <a:ext cx="1841500" cy="361950"/>
            <a:chOff x="1423555" y="2133600"/>
            <a:chExt cx="1842157" cy="362296"/>
          </a:xfrm>
        </p:grpSpPr>
        <p:pic>
          <p:nvPicPr>
            <p:cNvPr id="48144" name="Picture 19" descr="http://t3.gstatic.com/images?q=tbn:ANd9GcRv305Cs7EOHA2_Shb9ySgikV8-BVYVfJykI42w0lUxBbiof_jKZQ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369919" y="2219422"/>
              <a:ext cx="895793" cy="2346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48145" name="TextBox 43"/>
            <p:cNvSpPr txBox="1">
              <a:spLocks noChangeArrowheads="1"/>
            </p:cNvSpPr>
            <p:nvPr/>
          </p:nvSpPr>
          <p:spPr bwMode="auto">
            <a:xfrm>
              <a:off x="2151678" y="2133600"/>
              <a:ext cx="205110" cy="3024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en-US" sz="2000">
                  <a:solidFill>
                    <a:srgbClr val="000000"/>
                  </a:solidFill>
                </a:rPr>
                <a:t>+</a:t>
              </a:r>
            </a:p>
          </p:txBody>
        </p:sp>
        <p:pic>
          <p:nvPicPr>
            <p:cNvPr id="48146" name="Picture 6" descr="C:\Documents and Settings\cverene\Desktop\bing-logo copy.png"/>
            <p:cNvPicPr>
              <a:picLocks noChangeAspect="1" noChangeArrowheads="1"/>
            </p:cNvPicPr>
            <p:nvPr/>
          </p:nvPicPr>
          <p:blipFill>
            <a:blip r:embed="rId4" cstate="print"/>
            <a:srcRect t="21466" b="21989"/>
            <a:stretch>
              <a:fillRect/>
            </a:stretch>
          </p:blipFill>
          <p:spPr bwMode="auto">
            <a:xfrm>
              <a:off x="1423555" y="2186224"/>
              <a:ext cx="744918" cy="3096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48143" name="TextBox 65"/>
          <p:cNvSpPr txBox="1">
            <a:spLocks noChangeArrowheads="1"/>
          </p:cNvSpPr>
          <p:nvPr/>
        </p:nvSpPr>
        <p:spPr bwMode="auto">
          <a:xfrm>
            <a:off x="5969000" y="6324600"/>
            <a:ext cx="2935288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en-US" sz="1400">
                <a:solidFill>
                  <a:srgbClr val="000000"/>
                </a:solidFill>
                <a:latin typeface="Calibri" pitchFamily="34" charset="0"/>
              </a:rPr>
              <a:t>* March 2011 Statcounter global statistics (includes search partners)</a:t>
            </a:r>
          </a:p>
        </p:txBody>
      </p:sp>
      <p:sp>
        <p:nvSpPr>
          <p:cNvPr id="38" name="Rectangle 12"/>
          <p:cNvSpPr>
            <a:spLocks noChangeArrowheads="1"/>
          </p:cNvSpPr>
          <p:nvPr/>
        </p:nvSpPr>
        <p:spPr bwMode="auto">
          <a:xfrm>
            <a:off x="0" y="882650"/>
            <a:ext cx="9144000" cy="477838"/>
          </a:xfrm>
          <a:prstGeom prst="rect">
            <a:avLst/>
          </a:prstGeom>
          <a:solidFill>
            <a:srgbClr val="FFFF00">
              <a:alpha val="49019"/>
            </a:srgbClr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2400" b="1" dirty="0" smtClean="0">
                <a:solidFill>
                  <a:srgbClr val="000000"/>
                </a:solidFill>
                <a:latin typeface="Calibri" pitchFamily="34" charset="0"/>
              </a:rPr>
              <a:t>Query Volume Share</a:t>
            </a:r>
            <a:endParaRPr lang="en-US" sz="24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5712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46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76200"/>
            <a:ext cx="9144000" cy="685800"/>
          </a:xfrm>
        </p:spPr>
        <p:txBody>
          <a:bodyPr anchor="b"/>
          <a:lstStyle/>
          <a:p>
            <a:pPr algn="ctr">
              <a:lnSpc>
                <a:spcPts val="2800"/>
              </a:lnSpc>
            </a:pPr>
            <a:r>
              <a:rPr lang="en-US" sz="3200" b="1" dirty="0" smtClean="0">
                <a:latin typeface="Calibri" pitchFamily="34" charset="0"/>
              </a:rPr>
              <a:t>Paid Search is Concentrated (U.S.)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8374744" y="6618513"/>
            <a:ext cx="725713" cy="21544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>
              <a:defRPr/>
            </a:pPr>
            <a:fld id="{2EF606A4-AB11-47E8-A8D8-2516B14F34AF}" type="slidenum">
              <a:rPr lang="en-US" sz="1400">
                <a:gradFill>
                  <a:gsLst>
                    <a:gs pos="0">
                      <a:srgbClr val="000000"/>
                    </a:gs>
                    <a:gs pos="86000">
                      <a:srgbClr val="000000"/>
                    </a:gs>
                  </a:gsLst>
                  <a:lin ang="5400000" scaled="0"/>
                </a:gradFill>
                <a:latin typeface="+mn-lt"/>
              </a:rPr>
              <a:pPr algn="r">
                <a:defRPr/>
              </a:pPr>
              <a:t>12</a:t>
            </a:fld>
            <a:endParaRPr lang="en-US" sz="1400" dirty="0" err="1">
              <a:gradFill>
                <a:gsLst>
                  <a:gs pos="0">
                    <a:srgbClr val="000000"/>
                  </a:gs>
                  <a:gs pos="86000">
                    <a:srgbClr val="000000"/>
                  </a:gs>
                </a:gsLst>
                <a:lin ang="5400000" scaled="0"/>
              </a:gradFill>
              <a:latin typeface="+mn-lt"/>
            </a:endParaRPr>
          </a:p>
        </p:txBody>
      </p:sp>
      <p:sp>
        <p:nvSpPr>
          <p:cNvPr id="32" name="Rectangle 12"/>
          <p:cNvSpPr>
            <a:spLocks noChangeArrowheads="1"/>
          </p:cNvSpPr>
          <p:nvPr/>
        </p:nvSpPr>
        <p:spPr bwMode="auto">
          <a:xfrm>
            <a:off x="0" y="882650"/>
            <a:ext cx="9144000" cy="477838"/>
          </a:xfrm>
          <a:prstGeom prst="rect">
            <a:avLst/>
          </a:prstGeom>
          <a:solidFill>
            <a:srgbClr val="FFFF00">
              <a:alpha val="49019"/>
            </a:srgbClr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2400" b="1" dirty="0" smtClean="0">
                <a:solidFill>
                  <a:srgbClr val="000000"/>
                </a:solidFill>
                <a:latin typeface="Calibri" pitchFamily="34" charset="0"/>
              </a:rPr>
              <a:t>U.S. Paid Search Share</a:t>
            </a:r>
            <a:endParaRPr lang="en-US" sz="2400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838200" y="1326630"/>
            <a:ext cx="7648575" cy="5267325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wrap="none" anchor="ctr"/>
          <a:lstStyle/>
          <a:p>
            <a:pPr algn="ctr">
              <a:defRPr/>
            </a:pPr>
            <a:endParaRPr lang="en-US" sz="2800"/>
          </a:p>
        </p:txBody>
      </p:sp>
      <p:sp>
        <p:nvSpPr>
          <p:cNvPr id="39940" name="TextBox 6"/>
          <p:cNvSpPr txBox="1">
            <a:spLocks noChangeArrowheads="1"/>
          </p:cNvSpPr>
          <p:nvPr/>
        </p:nvSpPr>
        <p:spPr bwMode="auto">
          <a:xfrm>
            <a:off x="2908300" y="6260580"/>
            <a:ext cx="1447800" cy="2762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200" b="1"/>
              <a:t>Google</a:t>
            </a:r>
          </a:p>
        </p:txBody>
      </p:sp>
      <p:cxnSp>
        <p:nvCxnSpPr>
          <p:cNvPr id="39941" name="Straight Connector 7"/>
          <p:cNvCxnSpPr>
            <a:cxnSpLocks noChangeShapeType="1"/>
            <a:endCxn id="39940" idx="1"/>
          </p:cNvCxnSpPr>
          <p:nvPr/>
        </p:nvCxnSpPr>
        <p:spPr bwMode="auto">
          <a:xfrm>
            <a:off x="2667000" y="6393930"/>
            <a:ext cx="298450" cy="0"/>
          </a:xfrm>
          <a:prstGeom prst="line">
            <a:avLst/>
          </a:prstGeom>
          <a:noFill/>
          <a:ln w="57150" algn="ctr">
            <a:solidFill>
              <a:srgbClr val="C00000"/>
            </a:solidFill>
            <a:round/>
            <a:headEnd/>
            <a:tailEnd/>
          </a:ln>
        </p:spPr>
      </p:cxnSp>
      <p:sp>
        <p:nvSpPr>
          <p:cNvPr id="39942" name="TextBox 8"/>
          <p:cNvSpPr txBox="1">
            <a:spLocks noChangeArrowheads="1"/>
          </p:cNvSpPr>
          <p:nvPr/>
        </p:nvSpPr>
        <p:spPr bwMode="auto">
          <a:xfrm>
            <a:off x="4114800" y="6260580"/>
            <a:ext cx="762000" cy="2762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200" b="1"/>
              <a:t>Yahoo!</a:t>
            </a:r>
          </a:p>
        </p:txBody>
      </p:sp>
      <p:cxnSp>
        <p:nvCxnSpPr>
          <p:cNvPr id="39943" name="Straight Connector 9"/>
          <p:cNvCxnSpPr>
            <a:cxnSpLocks noChangeShapeType="1"/>
            <a:endCxn id="39942" idx="1"/>
          </p:cNvCxnSpPr>
          <p:nvPr/>
        </p:nvCxnSpPr>
        <p:spPr bwMode="auto">
          <a:xfrm>
            <a:off x="3873500" y="6393930"/>
            <a:ext cx="241300" cy="4763"/>
          </a:xfrm>
          <a:prstGeom prst="line">
            <a:avLst/>
          </a:prstGeom>
          <a:noFill/>
          <a:ln w="57150" algn="ctr">
            <a:solidFill>
              <a:srgbClr val="92D050"/>
            </a:solidFill>
            <a:round/>
            <a:headEnd/>
            <a:tailEnd/>
          </a:ln>
        </p:spPr>
      </p:cxnSp>
      <p:sp>
        <p:nvSpPr>
          <p:cNvPr id="39944" name="TextBox 10"/>
          <p:cNvSpPr txBox="1">
            <a:spLocks noChangeArrowheads="1"/>
          </p:cNvSpPr>
          <p:nvPr/>
        </p:nvSpPr>
        <p:spPr bwMode="auto">
          <a:xfrm>
            <a:off x="5257800" y="6260580"/>
            <a:ext cx="1225550" cy="2762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200" b="1"/>
              <a:t>Microsoft</a:t>
            </a:r>
          </a:p>
        </p:txBody>
      </p:sp>
      <p:cxnSp>
        <p:nvCxnSpPr>
          <p:cNvPr id="39945" name="Straight Connector 11"/>
          <p:cNvCxnSpPr>
            <a:cxnSpLocks noChangeShapeType="1"/>
            <a:endCxn id="39944" idx="1"/>
          </p:cNvCxnSpPr>
          <p:nvPr/>
        </p:nvCxnSpPr>
        <p:spPr bwMode="auto">
          <a:xfrm>
            <a:off x="5016500" y="6393930"/>
            <a:ext cx="241300" cy="4763"/>
          </a:xfrm>
          <a:prstGeom prst="line">
            <a:avLst/>
          </a:prstGeom>
          <a:noFill/>
          <a:ln w="57150" algn="ctr">
            <a:solidFill>
              <a:srgbClr val="0070C0"/>
            </a:solidFill>
            <a:round/>
            <a:headEnd/>
            <a:tailEnd/>
          </a:ln>
        </p:spPr>
      </p:cxnSp>
      <p:pic>
        <p:nvPicPr>
          <p:cNvPr id="39948" name="Picture 2"/>
          <p:cNvPicPr>
            <a:picLocks noChangeAspect="1" noChangeArrowheads="1"/>
          </p:cNvPicPr>
          <p:nvPr/>
        </p:nvPicPr>
        <p:blipFill>
          <a:blip r:embed="rId3" cstate="print"/>
          <a:srcRect l="516" t="906" r="1999" b="6221"/>
          <a:stretch>
            <a:fillRect/>
          </a:stretch>
        </p:blipFill>
        <p:spPr bwMode="auto">
          <a:xfrm>
            <a:off x="957263" y="1374255"/>
            <a:ext cx="7077075" cy="4887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9949" name="TextBox 13"/>
          <p:cNvSpPr txBox="1">
            <a:spLocks noChangeArrowheads="1"/>
          </p:cNvSpPr>
          <p:nvPr/>
        </p:nvSpPr>
        <p:spPr bwMode="auto">
          <a:xfrm>
            <a:off x="6605588" y="6260580"/>
            <a:ext cx="1624012" cy="2762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200" b="1"/>
              <a:t>Other (Overture)</a:t>
            </a:r>
          </a:p>
        </p:txBody>
      </p:sp>
      <p:cxnSp>
        <p:nvCxnSpPr>
          <p:cNvPr id="39950" name="Straight Connector 14"/>
          <p:cNvCxnSpPr>
            <a:cxnSpLocks noChangeShapeType="1"/>
            <a:endCxn id="39949" idx="1"/>
          </p:cNvCxnSpPr>
          <p:nvPr/>
        </p:nvCxnSpPr>
        <p:spPr bwMode="auto">
          <a:xfrm>
            <a:off x="6364288" y="6393930"/>
            <a:ext cx="241300" cy="4763"/>
          </a:xfrm>
          <a:prstGeom prst="line">
            <a:avLst/>
          </a:prstGeom>
          <a:noFill/>
          <a:ln w="5715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39951" name="Rectangle 16"/>
          <p:cNvSpPr>
            <a:spLocks noChangeArrowheads="1"/>
          </p:cNvSpPr>
          <p:nvPr/>
        </p:nvSpPr>
        <p:spPr bwMode="auto">
          <a:xfrm>
            <a:off x="2568575" y="6336780"/>
            <a:ext cx="107950" cy="107950"/>
          </a:xfrm>
          <a:prstGeom prst="rect">
            <a:avLst/>
          </a:prstGeom>
          <a:solidFill>
            <a:srgbClr val="C00000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sz="2800"/>
          </a:p>
        </p:txBody>
      </p:sp>
      <p:sp>
        <p:nvSpPr>
          <p:cNvPr id="39952" name="Rectangle 18"/>
          <p:cNvSpPr>
            <a:spLocks noChangeArrowheads="1"/>
          </p:cNvSpPr>
          <p:nvPr/>
        </p:nvSpPr>
        <p:spPr bwMode="auto">
          <a:xfrm>
            <a:off x="3800475" y="6336780"/>
            <a:ext cx="107950" cy="107950"/>
          </a:xfrm>
          <a:prstGeom prst="rect">
            <a:avLst/>
          </a:prstGeom>
          <a:solidFill>
            <a:srgbClr val="92D050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sz="2800"/>
          </a:p>
        </p:txBody>
      </p:sp>
      <p:sp>
        <p:nvSpPr>
          <p:cNvPr id="39953" name="Rectangle 19"/>
          <p:cNvSpPr>
            <a:spLocks noChangeArrowheads="1"/>
          </p:cNvSpPr>
          <p:nvPr/>
        </p:nvSpPr>
        <p:spPr bwMode="auto">
          <a:xfrm>
            <a:off x="4943475" y="6336780"/>
            <a:ext cx="107950" cy="107950"/>
          </a:xfrm>
          <a:prstGeom prst="rect">
            <a:avLst/>
          </a:prstGeom>
          <a:solidFill>
            <a:srgbClr val="0070C0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sz="2800"/>
          </a:p>
        </p:txBody>
      </p:sp>
      <p:sp>
        <p:nvSpPr>
          <p:cNvPr id="39954" name="Rectangle 20"/>
          <p:cNvSpPr>
            <a:spLocks noChangeArrowheads="1"/>
          </p:cNvSpPr>
          <p:nvPr/>
        </p:nvSpPr>
        <p:spPr bwMode="auto">
          <a:xfrm>
            <a:off x="6296025" y="6336780"/>
            <a:ext cx="107950" cy="107950"/>
          </a:xfrm>
          <a:prstGeom prst="rect">
            <a:avLst/>
          </a:prstGeom>
          <a:solidFill>
            <a:schemeClr val="tx1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sz="2800"/>
          </a:p>
        </p:txBody>
      </p:sp>
      <p:cxnSp>
        <p:nvCxnSpPr>
          <p:cNvPr id="22" name="Straight Connector 21"/>
          <p:cNvCxnSpPr/>
          <p:nvPr/>
        </p:nvCxnSpPr>
        <p:spPr bwMode="auto">
          <a:xfrm>
            <a:off x="1524000" y="3266555"/>
            <a:ext cx="6562725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" name="Straight Connector 22"/>
          <p:cNvCxnSpPr/>
          <p:nvPr/>
        </p:nvCxnSpPr>
        <p:spPr bwMode="auto">
          <a:xfrm>
            <a:off x="1524000" y="3715818"/>
            <a:ext cx="6562725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" name="Straight Connector 23"/>
          <p:cNvCxnSpPr/>
          <p:nvPr/>
        </p:nvCxnSpPr>
        <p:spPr bwMode="auto">
          <a:xfrm>
            <a:off x="1524000" y="4171430"/>
            <a:ext cx="6562725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5" name="Straight Connector 24"/>
          <p:cNvCxnSpPr/>
          <p:nvPr/>
        </p:nvCxnSpPr>
        <p:spPr bwMode="auto">
          <a:xfrm>
            <a:off x="1524000" y="4625455"/>
            <a:ext cx="6562725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6" name="Straight Connector 25"/>
          <p:cNvCxnSpPr/>
          <p:nvPr/>
        </p:nvCxnSpPr>
        <p:spPr bwMode="auto">
          <a:xfrm>
            <a:off x="1524000" y="5077893"/>
            <a:ext cx="6562725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7" name="Straight Connector 26"/>
          <p:cNvCxnSpPr/>
          <p:nvPr/>
        </p:nvCxnSpPr>
        <p:spPr bwMode="auto">
          <a:xfrm>
            <a:off x="1524000" y="5530330"/>
            <a:ext cx="6562725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" name="Straight Connector 27"/>
          <p:cNvCxnSpPr/>
          <p:nvPr/>
        </p:nvCxnSpPr>
        <p:spPr bwMode="auto">
          <a:xfrm>
            <a:off x="1524000" y="2810943"/>
            <a:ext cx="6562725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9" name="Straight Connector 28"/>
          <p:cNvCxnSpPr/>
          <p:nvPr/>
        </p:nvCxnSpPr>
        <p:spPr bwMode="auto">
          <a:xfrm>
            <a:off x="1524000" y="2356918"/>
            <a:ext cx="6562725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0" name="Straight Connector 29"/>
          <p:cNvCxnSpPr/>
          <p:nvPr/>
        </p:nvCxnSpPr>
        <p:spPr bwMode="auto">
          <a:xfrm>
            <a:off x="1524000" y="1904480"/>
            <a:ext cx="6562725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1" name="Straight Connector 30"/>
          <p:cNvCxnSpPr/>
          <p:nvPr/>
        </p:nvCxnSpPr>
        <p:spPr bwMode="auto">
          <a:xfrm>
            <a:off x="1524000" y="1448868"/>
            <a:ext cx="6562725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Freeform 32"/>
          <p:cNvSpPr/>
          <p:nvPr/>
        </p:nvSpPr>
        <p:spPr bwMode="auto">
          <a:xfrm>
            <a:off x="2276475" y="2209800"/>
            <a:ext cx="5457825" cy="3733800"/>
          </a:xfrm>
          <a:custGeom>
            <a:avLst/>
            <a:gdLst>
              <a:gd name="connsiteX0" fmla="*/ 0 w 5457825"/>
              <a:gd name="connsiteY0" fmla="*/ 3733800 h 3733800"/>
              <a:gd name="connsiteX1" fmla="*/ 504825 w 5457825"/>
              <a:gd name="connsiteY1" fmla="*/ 3086100 h 3733800"/>
              <a:gd name="connsiteX2" fmla="*/ 1000125 w 5457825"/>
              <a:gd name="connsiteY2" fmla="*/ 3019425 h 3733800"/>
              <a:gd name="connsiteX3" fmla="*/ 1495425 w 5457825"/>
              <a:gd name="connsiteY3" fmla="*/ 2219325 h 3733800"/>
              <a:gd name="connsiteX4" fmla="*/ 1971675 w 5457825"/>
              <a:gd name="connsiteY4" fmla="*/ 1314450 h 3733800"/>
              <a:gd name="connsiteX5" fmla="*/ 2486025 w 5457825"/>
              <a:gd name="connsiteY5" fmla="*/ 1123950 h 3733800"/>
              <a:gd name="connsiteX6" fmla="*/ 2962275 w 5457825"/>
              <a:gd name="connsiteY6" fmla="*/ 942975 h 3733800"/>
              <a:gd name="connsiteX7" fmla="*/ 3448050 w 5457825"/>
              <a:gd name="connsiteY7" fmla="*/ 666750 h 3733800"/>
              <a:gd name="connsiteX8" fmla="*/ 3971925 w 5457825"/>
              <a:gd name="connsiteY8" fmla="*/ 438150 h 3733800"/>
              <a:gd name="connsiteX9" fmla="*/ 4448175 w 5457825"/>
              <a:gd name="connsiteY9" fmla="*/ 352425 h 3733800"/>
              <a:gd name="connsiteX10" fmla="*/ 4962525 w 5457825"/>
              <a:gd name="connsiteY10" fmla="*/ 238125 h 3733800"/>
              <a:gd name="connsiteX11" fmla="*/ 5457825 w 5457825"/>
              <a:gd name="connsiteY11" fmla="*/ 0 h 3733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457825" h="3733800">
                <a:moveTo>
                  <a:pt x="0" y="3733800"/>
                </a:moveTo>
                <a:lnTo>
                  <a:pt x="504825" y="3086100"/>
                </a:lnTo>
                <a:lnTo>
                  <a:pt x="1000125" y="3019425"/>
                </a:lnTo>
                <a:lnTo>
                  <a:pt x="1495425" y="2219325"/>
                </a:lnTo>
                <a:lnTo>
                  <a:pt x="1971675" y="1314450"/>
                </a:lnTo>
                <a:lnTo>
                  <a:pt x="2486025" y="1123950"/>
                </a:lnTo>
                <a:lnTo>
                  <a:pt x="2962275" y="942975"/>
                </a:lnTo>
                <a:lnTo>
                  <a:pt x="3448050" y="666750"/>
                </a:lnTo>
                <a:lnTo>
                  <a:pt x="3971925" y="438150"/>
                </a:lnTo>
                <a:lnTo>
                  <a:pt x="4448175" y="352425"/>
                </a:lnTo>
                <a:lnTo>
                  <a:pt x="4962525" y="238125"/>
                </a:lnTo>
                <a:lnTo>
                  <a:pt x="5457825" y="0"/>
                </a:lnTo>
              </a:path>
            </a:pathLst>
          </a:custGeom>
          <a:noFill/>
          <a:ln w="5715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4" name="Freeform 33"/>
          <p:cNvSpPr/>
          <p:nvPr/>
        </p:nvSpPr>
        <p:spPr bwMode="auto">
          <a:xfrm>
            <a:off x="5229225" y="5781675"/>
            <a:ext cx="2495550" cy="161925"/>
          </a:xfrm>
          <a:custGeom>
            <a:avLst/>
            <a:gdLst>
              <a:gd name="connsiteX0" fmla="*/ 0 w 2495550"/>
              <a:gd name="connsiteY0" fmla="*/ 161925 h 161925"/>
              <a:gd name="connsiteX1" fmla="*/ 514350 w 2495550"/>
              <a:gd name="connsiteY1" fmla="*/ 66675 h 161925"/>
              <a:gd name="connsiteX2" fmla="*/ 1028700 w 2495550"/>
              <a:gd name="connsiteY2" fmla="*/ 19050 h 161925"/>
              <a:gd name="connsiteX3" fmla="*/ 1495425 w 2495550"/>
              <a:gd name="connsiteY3" fmla="*/ 28575 h 161925"/>
              <a:gd name="connsiteX4" fmla="*/ 1990725 w 2495550"/>
              <a:gd name="connsiteY4" fmla="*/ 47625 h 161925"/>
              <a:gd name="connsiteX5" fmla="*/ 2495550 w 2495550"/>
              <a:gd name="connsiteY5" fmla="*/ 0 h 161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95550" h="161925">
                <a:moveTo>
                  <a:pt x="0" y="161925"/>
                </a:moveTo>
                <a:lnTo>
                  <a:pt x="514350" y="66675"/>
                </a:lnTo>
                <a:lnTo>
                  <a:pt x="1028700" y="19050"/>
                </a:lnTo>
                <a:lnTo>
                  <a:pt x="1495425" y="28575"/>
                </a:lnTo>
                <a:lnTo>
                  <a:pt x="1990725" y="47625"/>
                </a:lnTo>
                <a:lnTo>
                  <a:pt x="2495550" y="0"/>
                </a:lnTo>
              </a:path>
            </a:pathLst>
          </a:custGeom>
          <a:noFill/>
          <a:ln w="57150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5" name="Freeform 34"/>
          <p:cNvSpPr/>
          <p:nvPr/>
        </p:nvSpPr>
        <p:spPr bwMode="auto">
          <a:xfrm>
            <a:off x="4257675" y="3886200"/>
            <a:ext cx="3457575" cy="1495425"/>
          </a:xfrm>
          <a:custGeom>
            <a:avLst/>
            <a:gdLst>
              <a:gd name="connsiteX0" fmla="*/ 0 w 3457575"/>
              <a:gd name="connsiteY0" fmla="*/ 0 h 1495425"/>
              <a:gd name="connsiteX1" fmla="*/ 476250 w 3457575"/>
              <a:gd name="connsiteY1" fmla="*/ 190500 h 1495425"/>
              <a:gd name="connsiteX2" fmla="*/ 1000125 w 3457575"/>
              <a:gd name="connsiteY2" fmla="*/ 409575 h 1495425"/>
              <a:gd name="connsiteX3" fmla="*/ 1504950 w 3457575"/>
              <a:gd name="connsiteY3" fmla="*/ 781050 h 1495425"/>
              <a:gd name="connsiteX4" fmla="*/ 1962150 w 3457575"/>
              <a:gd name="connsiteY4" fmla="*/ 1066800 h 1495425"/>
              <a:gd name="connsiteX5" fmla="*/ 2457450 w 3457575"/>
              <a:gd name="connsiteY5" fmla="*/ 1152525 h 1495425"/>
              <a:gd name="connsiteX6" fmla="*/ 2971800 w 3457575"/>
              <a:gd name="connsiteY6" fmla="*/ 1238250 h 1495425"/>
              <a:gd name="connsiteX7" fmla="*/ 3457575 w 3457575"/>
              <a:gd name="connsiteY7" fmla="*/ 1495425 h 1495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57575" h="1495425">
                <a:moveTo>
                  <a:pt x="0" y="0"/>
                </a:moveTo>
                <a:lnTo>
                  <a:pt x="476250" y="190500"/>
                </a:lnTo>
                <a:lnTo>
                  <a:pt x="1000125" y="409575"/>
                </a:lnTo>
                <a:lnTo>
                  <a:pt x="1504950" y="781050"/>
                </a:lnTo>
                <a:lnTo>
                  <a:pt x="1962150" y="1066800"/>
                </a:lnTo>
                <a:lnTo>
                  <a:pt x="2457450" y="1152525"/>
                </a:lnTo>
                <a:lnTo>
                  <a:pt x="2971800" y="1238250"/>
                </a:lnTo>
                <a:lnTo>
                  <a:pt x="3457575" y="1495425"/>
                </a:lnTo>
              </a:path>
            </a:pathLst>
          </a:custGeom>
          <a:noFill/>
          <a:ln w="57150" cap="flat" cmpd="sng" algn="ctr">
            <a:solidFill>
              <a:srgbClr val="92D05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6" name="Freeform 35"/>
          <p:cNvSpPr/>
          <p:nvPr/>
        </p:nvSpPr>
        <p:spPr bwMode="auto">
          <a:xfrm>
            <a:off x="1771650" y="1438275"/>
            <a:ext cx="2009775" cy="1543050"/>
          </a:xfrm>
          <a:custGeom>
            <a:avLst/>
            <a:gdLst>
              <a:gd name="connsiteX0" fmla="*/ 0 w 2009775"/>
              <a:gd name="connsiteY0" fmla="*/ 0 h 1543050"/>
              <a:gd name="connsiteX1" fmla="*/ 495300 w 2009775"/>
              <a:gd name="connsiteY1" fmla="*/ 47625 h 1543050"/>
              <a:gd name="connsiteX2" fmla="*/ 1009650 w 2009775"/>
              <a:gd name="connsiteY2" fmla="*/ 676275 h 1543050"/>
              <a:gd name="connsiteX3" fmla="*/ 1495425 w 2009775"/>
              <a:gd name="connsiteY3" fmla="*/ 733425 h 1543050"/>
              <a:gd name="connsiteX4" fmla="*/ 2009775 w 2009775"/>
              <a:gd name="connsiteY4" fmla="*/ 1543050 h 1543050"/>
              <a:gd name="connsiteX5" fmla="*/ 1990725 w 2009775"/>
              <a:gd name="connsiteY5" fmla="*/ 1514475 h 1543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09775" h="1543050">
                <a:moveTo>
                  <a:pt x="0" y="0"/>
                </a:moveTo>
                <a:lnTo>
                  <a:pt x="495300" y="47625"/>
                </a:lnTo>
                <a:lnTo>
                  <a:pt x="1009650" y="676275"/>
                </a:lnTo>
                <a:lnTo>
                  <a:pt x="1495425" y="733425"/>
                </a:lnTo>
                <a:lnTo>
                  <a:pt x="2009775" y="1543050"/>
                </a:lnTo>
                <a:lnTo>
                  <a:pt x="1990725" y="1514475"/>
                </a:lnTo>
              </a:path>
            </a:pathLst>
          </a:custGeom>
          <a:noFill/>
          <a:ln w="571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7" name="Rectangle 18"/>
          <p:cNvSpPr>
            <a:spLocks noChangeArrowheads="1"/>
          </p:cNvSpPr>
          <p:nvPr/>
        </p:nvSpPr>
        <p:spPr bwMode="auto">
          <a:xfrm>
            <a:off x="4243161" y="3854837"/>
            <a:ext cx="107950" cy="107950"/>
          </a:xfrm>
          <a:prstGeom prst="rect">
            <a:avLst/>
          </a:prstGeom>
          <a:solidFill>
            <a:srgbClr val="92D050"/>
          </a:solidFill>
          <a:ln w="9525" algn="ctr">
            <a:solidFill>
              <a:srgbClr val="92D050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sz="2800"/>
          </a:p>
        </p:txBody>
      </p:sp>
      <p:sp>
        <p:nvSpPr>
          <p:cNvPr id="38" name="Rectangle 18"/>
          <p:cNvSpPr>
            <a:spLocks noChangeArrowheads="1"/>
          </p:cNvSpPr>
          <p:nvPr/>
        </p:nvSpPr>
        <p:spPr bwMode="auto">
          <a:xfrm>
            <a:off x="4700361" y="4051687"/>
            <a:ext cx="107950" cy="107950"/>
          </a:xfrm>
          <a:prstGeom prst="rect">
            <a:avLst/>
          </a:prstGeom>
          <a:solidFill>
            <a:srgbClr val="92D050"/>
          </a:solidFill>
          <a:ln w="9525" algn="ctr">
            <a:solidFill>
              <a:srgbClr val="92D050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sz="2800"/>
          </a:p>
        </p:txBody>
      </p:sp>
      <p:sp>
        <p:nvSpPr>
          <p:cNvPr id="39" name="Rectangle 18"/>
          <p:cNvSpPr>
            <a:spLocks noChangeArrowheads="1"/>
          </p:cNvSpPr>
          <p:nvPr/>
        </p:nvSpPr>
        <p:spPr bwMode="auto">
          <a:xfrm>
            <a:off x="5176611" y="4229487"/>
            <a:ext cx="107950" cy="107950"/>
          </a:xfrm>
          <a:prstGeom prst="rect">
            <a:avLst/>
          </a:prstGeom>
          <a:solidFill>
            <a:srgbClr val="92D050"/>
          </a:solidFill>
          <a:ln w="9525" algn="ctr">
            <a:solidFill>
              <a:srgbClr val="92D050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sz="2800"/>
          </a:p>
        </p:txBody>
      </p:sp>
      <p:sp>
        <p:nvSpPr>
          <p:cNvPr id="40" name="Rectangle 18"/>
          <p:cNvSpPr>
            <a:spLocks noChangeArrowheads="1"/>
          </p:cNvSpPr>
          <p:nvPr/>
        </p:nvSpPr>
        <p:spPr bwMode="auto">
          <a:xfrm>
            <a:off x="5678261" y="4591437"/>
            <a:ext cx="107950" cy="107950"/>
          </a:xfrm>
          <a:prstGeom prst="rect">
            <a:avLst/>
          </a:prstGeom>
          <a:solidFill>
            <a:srgbClr val="92D050"/>
          </a:solidFill>
          <a:ln w="9525" algn="ctr">
            <a:solidFill>
              <a:srgbClr val="92D050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sz="2800"/>
          </a:p>
        </p:txBody>
      </p:sp>
      <p:sp>
        <p:nvSpPr>
          <p:cNvPr id="41" name="Rectangle 18"/>
          <p:cNvSpPr>
            <a:spLocks noChangeArrowheads="1"/>
          </p:cNvSpPr>
          <p:nvPr/>
        </p:nvSpPr>
        <p:spPr bwMode="auto">
          <a:xfrm>
            <a:off x="6186261" y="4896237"/>
            <a:ext cx="107950" cy="107950"/>
          </a:xfrm>
          <a:prstGeom prst="rect">
            <a:avLst/>
          </a:prstGeom>
          <a:solidFill>
            <a:srgbClr val="92D050"/>
          </a:solidFill>
          <a:ln w="9525" algn="ctr">
            <a:solidFill>
              <a:srgbClr val="92D050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sz="2800"/>
          </a:p>
        </p:txBody>
      </p:sp>
      <p:sp>
        <p:nvSpPr>
          <p:cNvPr id="42" name="Rectangle 18"/>
          <p:cNvSpPr>
            <a:spLocks noChangeArrowheads="1"/>
          </p:cNvSpPr>
          <p:nvPr/>
        </p:nvSpPr>
        <p:spPr bwMode="auto">
          <a:xfrm>
            <a:off x="6656161" y="4991487"/>
            <a:ext cx="107950" cy="107950"/>
          </a:xfrm>
          <a:prstGeom prst="rect">
            <a:avLst/>
          </a:prstGeom>
          <a:solidFill>
            <a:srgbClr val="92D050"/>
          </a:solidFill>
          <a:ln w="9525" algn="ctr">
            <a:solidFill>
              <a:srgbClr val="92D050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sz="2800"/>
          </a:p>
        </p:txBody>
      </p:sp>
      <p:sp>
        <p:nvSpPr>
          <p:cNvPr id="43" name="Rectangle 18"/>
          <p:cNvSpPr>
            <a:spLocks noChangeArrowheads="1"/>
          </p:cNvSpPr>
          <p:nvPr/>
        </p:nvSpPr>
        <p:spPr bwMode="auto">
          <a:xfrm>
            <a:off x="7164161" y="5093087"/>
            <a:ext cx="107950" cy="107950"/>
          </a:xfrm>
          <a:prstGeom prst="rect">
            <a:avLst/>
          </a:prstGeom>
          <a:solidFill>
            <a:srgbClr val="92D050"/>
          </a:solidFill>
          <a:ln w="9525" algn="ctr">
            <a:solidFill>
              <a:srgbClr val="92D050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sz="2800"/>
          </a:p>
        </p:txBody>
      </p:sp>
      <p:sp>
        <p:nvSpPr>
          <p:cNvPr id="44" name="Rectangle 18"/>
          <p:cNvSpPr>
            <a:spLocks noChangeArrowheads="1"/>
          </p:cNvSpPr>
          <p:nvPr/>
        </p:nvSpPr>
        <p:spPr bwMode="auto">
          <a:xfrm>
            <a:off x="7640411" y="5321687"/>
            <a:ext cx="107950" cy="107950"/>
          </a:xfrm>
          <a:prstGeom prst="rect">
            <a:avLst/>
          </a:prstGeom>
          <a:solidFill>
            <a:srgbClr val="92D050"/>
          </a:solidFill>
          <a:ln w="9525" algn="ctr">
            <a:solidFill>
              <a:srgbClr val="92D050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sz="2800"/>
          </a:p>
        </p:txBody>
      </p:sp>
      <p:sp>
        <p:nvSpPr>
          <p:cNvPr id="45" name="Rectangle 19"/>
          <p:cNvSpPr>
            <a:spLocks noChangeArrowheads="1"/>
          </p:cNvSpPr>
          <p:nvPr/>
        </p:nvSpPr>
        <p:spPr bwMode="auto">
          <a:xfrm>
            <a:off x="5165725" y="5904980"/>
            <a:ext cx="107950" cy="107950"/>
          </a:xfrm>
          <a:prstGeom prst="rect">
            <a:avLst/>
          </a:prstGeom>
          <a:solidFill>
            <a:srgbClr val="0070C0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sz="2800"/>
          </a:p>
        </p:txBody>
      </p:sp>
      <p:sp>
        <p:nvSpPr>
          <p:cNvPr id="46" name="Rectangle 19"/>
          <p:cNvSpPr>
            <a:spLocks noChangeArrowheads="1"/>
          </p:cNvSpPr>
          <p:nvPr/>
        </p:nvSpPr>
        <p:spPr bwMode="auto">
          <a:xfrm>
            <a:off x="5680075" y="5809730"/>
            <a:ext cx="107950" cy="107950"/>
          </a:xfrm>
          <a:prstGeom prst="rect">
            <a:avLst/>
          </a:prstGeom>
          <a:solidFill>
            <a:srgbClr val="0070C0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sz="2800"/>
          </a:p>
        </p:txBody>
      </p:sp>
      <p:sp>
        <p:nvSpPr>
          <p:cNvPr id="47" name="Rectangle 19"/>
          <p:cNvSpPr>
            <a:spLocks noChangeArrowheads="1"/>
          </p:cNvSpPr>
          <p:nvPr/>
        </p:nvSpPr>
        <p:spPr bwMode="auto">
          <a:xfrm>
            <a:off x="6149975" y="5758930"/>
            <a:ext cx="107950" cy="107950"/>
          </a:xfrm>
          <a:prstGeom prst="rect">
            <a:avLst/>
          </a:prstGeom>
          <a:solidFill>
            <a:srgbClr val="0070C0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sz="2800"/>
          </a:p>
        </p:txBody>
      </p:sp>
      <p:sp>
        <p:nvSpPr>
          <p:cNvPr id="48" name="Rectangle 19"/>
          <p:cNvSpPr>
            <a:spLocks noChangeArrowheads="1"/>
          </p:cNvSpPr>
          <p:nvPr/>
        </p:nvSpPr>
        <p:spPr bwMode="auto">
          <a:xfrm>
            <a:off x="6645275" y="5758930"/>
            <a:ext cx="107950" cy="107950"/>
          </a:xfrm>
          <a:prstGeom prst="rect">
            <a:avLst/>
          </a:prstGeom>
          <a:solidFill>
            <a:srgbClr val="0070C0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sz="2800"/>
          </a:p>
        </p:txBody>
      </p:sp>
      <p:sp>
        <p:nvSpPr>
          <p:cNvPr id="49" name="Rectangle 19"/>
          <p:cNvSpPr>
            <a:spLocks noChangeArrowheads="1"/>
          </p:cNvSpPr>
          <p:nvPr/>
        </p:nvSpPr>
        <p:spPr bwMode="auto">
          <a:xfrm>
            <a:off x="7146925" y="5771630"/>
            <a:ext cx="107950" cy="107950"/>
          </a:xfrm>
          <a:prstGeom prst="rect">
            <a:avLst/>
          </a:prstGeom>
          <a:solidFill>
            <a:srgbClr val="0070C0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sz="2800"/>
          </a:p>
        </p:txBody>
      </p:sp>
      <p:sp>
        <p:nvSpPr>
          <p:cNvPr id="50" name="Rectangle 19"/>
          <p:cNvSpPr>
            <a:spLocks noChangeArrowheads="1"/>
          </p:cNvSpPr>
          <p:nvPr/>
        </p:nvSpPr>
        <p:spPr bwMode="auto">
          <a:xfrm>
            <a:off x="7680325" y="5733530"/>
            <a:ext cx="107950" cy="107950"/>
          </a:xfrm>
          <a:prstGeom prst="rect">
            <a:avLst/>
          </a:prstGeom>
          <a:solidFill>
            <a:srgbClr val="0070C0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sz="2800"/>
          </a:p>
        </p:txBody>
      </p:sp>
      <p:sp>
        <p:nvSpPr>
          <p:cNvPr id="51" name="Rectangle 16"/>
          <p:cNvSpPr>
            <a:spLocks noChangeArrowheads="1"/>
          </p:cNvSpPr>
          <p:nvPr/>
        </p:nvSpPr>
        <p:spPr bwMode="auto">
          <a:xfrm>
            <a:off x="2232025" y="5866880"/>
            <a:ext cx="107950" cy="107950"/>
          </a:xfrm>
          <a:prstGeom prst="rect">
            <a:avLst/>
          </a:prstGeom>
          <a:solidFill>
            <a:srgbClr val="C00000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sz="2800"/>
          </a:p>
        </p:txBody>
      </p:sp>
      <p:sp>
        <p:nvSpPr>
          <p:cNvPr id="52" name="Rectangle 16"/>
          <p:cNvSpPr>
            <a:spLocks noChangeArrowheads="1"/>
          </p:cNvSpPr>
          <p:nvPr/>
        </p:nvSpPr>
        <p:spPr bwMode="auto">
          <a:xfrm>
            <a:off x="2720975" y="5269980"/>
            <a:ext cx="107950" cy="107950"/>
          </a:xfrm>
          <a:prstGeom prst="rect">
            <a:avLst/>
          </a:prstGeom>
          <a:solidFill>
            <a:srgbClr val="C00000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sz="2800"/>
          </a:p>
        </p:txBody>
      </p:sp>
      <p:sp>
        <p:nvSpPr>
          <p:cNvPr id="53" name="Rectangle 16"/>
          <p:cNvSpPr>
            <a:spLocks noChangeArrowheads="1"/>
          </p:cNvSpPr>
          <p:nvPr/>
        </p:nvSpPr>
        <p:spPr bwMode="auto">
          <a:xfrm>
            <a:off x="3216275" y="5181080"/>
            <a:ext cx="107950" cy="107950"/>
          </a:xfrm>
          <a:prstGeom prst="rect">
            <a:avLst/>
          </a:prstGeom>
          <a:solidFill>
            <a:srgbClr val="C00000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sz="2800"/>
          </a:p>
        </p:txBody>
      </p:sp>
      <p:sp>
        <p:nvSpPr>
          <p:cNvPr id="54" name="Rectangle 16"/>
          <p:cNvSpPr>
            <a:spLocks noChangeArrowheads="1"/>
          </p:cNvSpPr>
          <p:nvPr/>
        </p:nvSpPr>
        <p:spPr bwMode="auto">
          <a:xfrm>
            <a:off x="3711575" y="4406380"/>
            <a:ext cx="107950" cy="107950"/>
          </a:xfrm>
          <a:prstGeom prst="rect">
            <a:avLst/>
          </a:prstGeom>
          <a:solidFill>
            <a:srgbClr val="C00000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sz="2800"/>
          </a:p>
        </p:txBody>
      </p:sp>
      <p:sp>
        <p:nvSpPr>
          <p:cNvPr id="55" name="Rectangle 16"/>
          <p:cNvSpPr>
            <a:spLocks noChangeArrowheads="1"/>
          </p:cNvSpPr>
          <p:nvPr/>
        </p:nvSpPr>
        <p:spPr bwMode="auto">
          <a:xfrm>
            <a:off x="4187825" y="3491980"/>
            <a:ext cx="107950" cy="107950"/>
          </a:xfrm>
          <a:prstGeom prst="rect">
            <a:avLst/>
          </a:prstGeom>
          <a:solidFill>
            <a:srgbClr val="C00000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sz="2800"/>
          </a:p>
        </p:txBody>
      </p:sp>
      <p:sp>
        <p:nvSpPr>
          <p:cNvPr id="56" name="Rectangle 16"/>
          <p:cNvSpPr>
            <a:spLocks noChangeArrowheads="1"/>
          </p:cNvSpPr>
          <p:nvPr/>
        </p:nvSpPr>
        <p:spPr bwMode="auto">
          <a:xfrm>
            <a:off x="4683125" y="3295130"/>
            <a:ext cx="107950" cy="107950"/>
          </a:xfrm>
          <a:prstGeom prst="rect">
            <a:avLst/>
          </a:prstGeom>
          <a:solidFill>
            <a:srgbClr val="C00000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sz="2800"/>
          </a:p>
        </p:txBody>
      </p:sp>
      <p:sp>
        <p:nvSpPr>
          <p:cNvPr id="57" name="Rectangle 16"/>
          <p:cNvSpPr>
            <a:spLocks noChangeArrowheads="1"/>
          </p:cNvSpPr>
          <p:nvPr/>
        </p:nvSpPr>
        <p:spPr bwMode="auto">
          <a:xfrm>
            <a:off x="5184775" y="3104630"/>
            <a:ext cx="107950" cy="107950"/>
          </a:xfrm>
          <a:prstGeom prst="rect">
            <a:avLst/>
          </a:prstGeom>
          <a:solidFill>
            <a:srgbClr val="C00000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sz="2800"/>
          </a:p>
        </p:txBody>
      </p:sp>
      <p:sp>
        <p:nvSpPr>
          <p:cNvPr id="58" name="Rectangle 16"/>
          <p:cNvSpPr>
            <a:spLocks noChangeArrowheads="1"/>
          </p:cNvSpPr>
          <p:nvPr/>
        </p:nvSpPr>
        <p:spPr bwMode="auto">
          <a:xfrm>
            <a:off x="5686425" y="2831580"/>
            <a:ext cx="107950" cy="107950"/>
          </a:xfrm>
          <a:prstGeom prst="rect">
            <a:avLst/>
          </a:prstGeom>
          <a:solidFill>
            <a:srgbClr val="C00000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sz="2800"/>
          </a:p>
        </p:txBody>
      </p:sp>
      <p:sp>
        <p:nvSpPr>
          <p:cNvPr id="59" name="Rectangle 16"/>
          <p:cNvSpPr>
            <a:spLocks noChangeArrowheads="1"/>
          </p:cNvSpPr>
          <p:nvPr/>
        </p:nvSpPr>
        <p:spPr bwMode="auto">
          <a:xfrm>
            <a:off x="6181725" y="2609330"/>
            <a:ext cx="107950" cy="107950"/>
          </a:xfrm>
          <a:prstGeom prst="rect">
            <a:avLst/>
          </a:prstGeom>
          <a:solidFill>
            <a:srgbClr val="C00000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sz="2800"/>
          </a:p>
        </p:txBody>
      </p:sp>
      <p:sp>
        <p:nvSpPr>
          <p:cNvPr id="60" name="Rectangle 16"/>
          <p:cNvSpPr>
            <a:spLocks noChangeArrowheads="1"/>
          </p:cNvSpPr>
          <p:nvPr/>
        </p:nvSpPr>
        <p:spPr bwMode="auto">
          <a:xfrm>
            <a:off x="6677025" y="2520430"/>
            <a:ext cx="107950" cy="107950"/>
          </a:xfrm>
          <a:prstGeom prst="rect">
            <a:avLst/>
          </a:prstGeom>
          <a:solidFill>
            <a:srgbClr val="C00000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sz="2800"/>
          </a:p>
        </p:txBody>
      </p:sp>
      <p:sp>
        <p:nvSpPr>
          <p:cNvPr id="61" name="Rectangle 16"/>
          <p:cNvSpPr>
            <a:spLocks noChangeArrowheads="1"/>
          </p:cNvSpPr>
          <p:nvPr/>
        </p:nvSpPr>
        <p:spPr bwMode="auto">
          <a:xfrm>
            <a:off x="7146925" y="2399780"/>
            <a:ext cx="107950" cy="107950"/>
          </a:xfrm>
          <a:prstGeom prst="rect">
            <a:avLst/>
          </a:prstGeom>
          <a:solidFill>
            <a:srgbClr val="C00000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sz="2800"/>
          </a:p>
        </p:txBody>
      </p:sp>
      <p:sp>
        <p:nvSpPr>
          <p:cNvPr id="62" name="Rectangle 16"/>
          <p:cNvSpPr>
            <a:spLocks noChangeArrowheads="1"/>
          </p:cNvSpPr>
          <p:nvPr/>
        </p:nvSpPr>
        <p:spPr bwMode="auto">
          <a:xfrm>
            <a:off x="7648575" y="2171180"/>
            <a:ext cx="107950" cy="107950"/>
          </a:xfrm>
          <a:prstGeom prst="rect">
            <a:avLst/>
          </a:prstGeom>
          <a:solidFill>
            <a:srgbClr val="C00000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sz="2800"/>
          </a:p>
        </p:txBody>
      </p:sp>
      <p:sp>
        <p:nvSpPr>
          <p:cNvPr id="63" name="Rectangle 20"/>
          <p:cNvSpPr>
            <a:spLocks noChangeArrowheads="1"/>
          </p:cNvSpPr>
          <p:nvPr/>
        </p:nvSpPr>
        <p:spPr bwMode="auto">
          <a:xfrm>
            <a:off x="3707946" y="2922294"/>
            <a:ext cx="107950" cy="107950"/>
          </a:xfrm>
          <a:prstGeom prst="rect">
            <a:avLst/>
          </a:prstGeom>
          <a:solidFill>
            <a:schemeClr val="tx1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sz="2800"/>
          </a:p>
        </p:txBody>
      </p:sp>
      <p:sp>
        <p:nvSpPr>
          <p:cNvPr id="64" name="Rectangle 20"/>
          <p:cNvSpPr>
            <a:spLocks noChangeArrowheads="1"/>
          </p:cNvSpPr>
          <p:nvPr/>
        </p:nvSpPr>
        <p:spPr bwMode="auto">
          <a:xfrm>
            <a:off x="3215821" y="2122194"/>
            <a:ext cx="107950" cy="107950"/>
          </a:xfrm>
          <a:prstGeom prst="rect">
            <a:avLst/>
          </a:prstGeom>
          <a:solidFill>
            <a:schemeClr val="tx1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sz="2800"/>
          </a:p>
        </p:txBody>
      </p:sp>
      <p:sp>
        <p:nvSpPr>
          <p:cNvPr id="65" name="Rectangle 20"/>
          <p:cNvSpPr>
            <a:spLocks noChangeArrowheads="1"/>
          </p:cNvSpPr>
          <p:nvPr/>
        </p:nvSpPr>
        <p:spPr bwMode="auto">
          <a:xfrm>
            <a:off x="2710996" y="2045994"/>
            <a:ext cx="107950" cy="107950"/>
          </a:xfrm>
          <a:prstGeom prst="rect">
            <a:avLst/>
          </a:prstGeom>
          <a:solidFill>
            <a:schemeClr val="tx1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sz="2800"/>
          </a:p>
        </p:txBody>
      </p:sp>
      <p:sp>
        <p:nvSpPr>
          <p:cNvPr id="66" name="Rectangle 20"/>
          <p:cNvSpPr>
            <a:spLocks noChangeArrowheads="1"/>
          </p:cNvSpPr>
          <p:nvPr/>
        </p:nvSpPr>
        <p:spPr bwMode="auto">
          <a:xfrm>
            <a:off x="2196646" y="1442744"/>
            <a:ext cx="107950" cy="107950"/>
          </a:xfrm>
          <a:prstGeom prst="rect">
            <a:avLst/>
          </a:prstGeom>
          <a:solidFill>
            <a:schemeClr val="tx1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sz="2800"/>
          </a:p>
        </p:txBody>
      </p:sp>
      <p:sp>
        <p:nvSpPr>
          <p:cNvPr id="67" name="Rectangle 20"/>
          <p:cNvSpPr>
            <a:spLocks noChangeArrowheads="1"/>
          </p:cNvSpPr>
          <p:nvPr/>
        </p:nvSpPr>
        <p:spPr bwMode="auto">
          <a:xfrm>
            <a:off x="1688646" y="1379244"/>
            <a:ext cx="107950" cy="107950"/>
          </a:xfrm>
          <a:prstGeom prst="rect">
            <a:avLst/>
          </a:prstGeom>
          <a:solidFill>
            <a:schemeClr val="tx1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sz="2800"/>
          </a:p>
        </p:txBody>
      </p:sp>
    </p:spTree>
    <p:extLst>
      <p:ext uri="{BB962C8B-B14F-4D97-AF65-F5344CB8AC3E}">
        <p14:creationId xmlns:p14="http://schemas.microsoft.com/office/powerpoint/2010/main" val="4237789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ounded Rectangle 3"/>
          <p:cNvSpPr/>
          <p:nvPr/>
        </p:nvSpPr>
        <p:spPr>
          <a:xfrm>
            <a:off x="4920527" y="3546641"/>
            <a:ext cx="1344168" cy="1380744"/>
          </a:xfrm>
          <a:prstGeom prst="roundRect">
            <a:avLst>
              <a:gd name="adj" fmla="val 8762"/>
            </a:avLst>
          </a:prstGeom>
          <a:solidFill>
            <a:srgbClr val="FFFFFF"/>
          </a:solidFill>
          <a:ln>
            <a:noFill/>
          </a:ln>
          <a:effectLst>
            <a:outerShdw blurRad="101600" dist="50800" dir="2700000" algn="tl" rotWithShape="0">
              <a:schemeClr val="accent2">
                <a:alpha val="40000"/>
              </a:scheme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ounded Rectangle 4"/>
          <p:cNvSpPr/>
          <p:nvPr/>
        </p:nvSpPr>
        <p:spPr>
          <a:xfrm>
            <a:off x="4914570" y="3547774"/>
            <a:ext cx="1355713" cy="1376333"/>
          </a:xfrm>
          <a:prstGeom prst="roundRect">
            <a:avLst>
              <a:gd name="adj" fmla="val 6036"/>
            </a:avLst>
          </a:prstGeom>
          <a:solidFill>
            <a:srgbClr val="FFFFFF"/>
          </a:solidFill>
          <a:ln>
            <a:solidFill>
              <a:schemeClr val="accent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183860"/>
              </a:solidFill>
              <a:latin typeface="Segoe"/>
            </a:endParaRPr>
          </a:p>
        </p:txBody>
      </p:sp>
      <p:pic>
        <p:nvPicPr>
          <p:cNvPr id="6" name="Picture 5" descr="smiles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7647" y="3583025"/>
            <a:ext cx="269823" cy="274320"/>
          </a:xfrm>
          <a:prstGeom prst="rect">
            <a:avLst/>
          </a:prstGeom>
        </p:spPr>
      </p:pic>
      <p:grpSp>
        <p:nvGrpSpPr>
          <p:cNvPr id="7" name="Group 6"/>
          <p:cNvGrpSpPr/>
          <p:nvPr/>
        </p:nvGrpSpPr>
        <p:grpSpPr>
          <a:xfrm>
            <a:off x="5049063" y="4462737"/>
            <a:ext cx="1086714" cy="274320"/>
            <a:chOff x="5049063" y="4462737"/>
            <a:chExt cx="1086714" cy="274320"/>
          </a:xfrm>
        </p:grpSpPr>
        <p:pic>
          <p:nvPicPr>
            <p:cNvPr id="8" name="Picture 7" descr="smiles.png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47641" y="4462737"/>
              <a:ext cx="269823" cy="274320"/>
            </a:xfrm>
            <a:prstGeom prst="rect">
              <a:avLst/>
            </a:prstGeom>
          </p:spPr>
        </p:pic>
        <p:pic>
          <p:nvPicPr>
            <p:cNvPr id="9" name="Picture 8" descr="smiles.png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65954" y="4462737"/>
              <a:ext cx="269823" cy="274320"/>
            </a:xfrm>
            <a:prstGeom prst="rect">
              <a:avLst/>
            </a:prstGeom>
          </p:spPr>
        </p:pic>
        <p:pic>
          <p:nvPicPr>
            <p:cNvPr id="10" name="Picture 9" descr="smiles.png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49063" y="4462737"/>
              <a:ext cx="269823" cy="274320"/>
            </a:xfrm>
            <a:prstGeom prst="rect">
              <a:avLst/>
            </a:prstGeom>
          </p:spPr>
        </p:pic>
      </p:grpSp>
      <p:grpSp>
        <p:nvGrpSpPr>
          <p:cNvPr id="11" name="Group 10"/>
          <p:cNvGrpSpPr/>
          <p:nvPr/>
        </p:nvGrpSpPr>
        <p:grpSpPr>
          <a:xfrm>
            <a:off x="1514260" y="942819"/>
            <a:ext cx="3293333" cy="4471416"/>
            <a:chOff x="1514260" y="942819"/>
            <a:chExt cx="3293333" cy="4471416"/>
          </a:xfrm>
        </p:grpSpPr>
        <p:grpSp>
          <p:nvGrpSpPr>
            <p:cNvPr id="12" name="Group 11"/>
            <p:cNvGrpSpPr/>
            <p:nvPr/>
          </p:nvGrpSpPr>
          <p:grpSpPr>
            <a:xfrm>
              <a:off x="1514260" y="942819"/>
              <a:ext cx="3293333" cy="4471416"/>
              <a:chOff x="1514260" y="942819"/>
              <a:chExt cx="3293333" cy="4471416"/>
            </a:xfrm>
          </p:grpSpPr>
          <p:sp>
            <p:nvSpPr>
              <p:cNvPr id="21" name="Rounded Rectangle 20"/>
              <p:cNvSpPr/>
              <p:nvPr/>
            </p:nvSpPr>
            <p:spPr>
              <a:xfrm>
                <a:off x="2468691" y="942819"/>
                <a:ext cx="1051560" cy="4471416"/>
              </a:xfrm>
              <a:prstGeom prst="roundRect">
                <a:avLst>
                  <a:gd name="adj" fmla="val 8762"/>
                </a:avLst>
              </a:prstGeom>
              <a:solidFill>
                <a:srgbClr val="FFFFFF"/>
              </a:solidFill>
              <a:ln>
                <a:noFill/>
              </a:ln>
              <a:effectLst>
                <a:outerShdw blurRad="101600" dist="50800" dir="2700000" algn="tl" rotWithShape="0">
                  <a:schemeClr val="accent2">
                    <a:alpha val="40000"/>
                  </a:scheme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22" name="Group 21"/>
              <p:cNvGrpSpPr/>
              <p:nvPr/>
            </p:nvGrpSpPr>
            <p:grpSpPr>
              <a:xfrm>
                <a:off x="1514260" y="944715"/>
                <a:ext cx="3293333" cy="4466844"/>
                <a:chOff x="1514260" y="936578"/>
                <a:chExt cx="3293333" cy="4466844"/>
              </a:xfrm>
            </p:grpSpPr>
            <p:cxnSp>
              <p:nvCxnSpPr>
                <p:cNvPr id="23" name="Straight Arrow Connector 22"/>
                <p:cNvCxnSpPr/>
                <p:nvPr/>
              </p:nvCxnSpPr>
              <p:spPr>
                <a:xfrm>
                  <a:off x="3520251" y="2303511"/>
                  <a:ext cx="1287342" cy="1"/>
                </a:xfrm>
                <a:prstGeom prst="straightConnector1">
                  <a:avLst/>
                </a:prstGeom>
                <a:ln w="38100" cap="rnd" cmpd="dbl">
                  <a:round/>
                  <a:tailEnd type="arrow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Straight Arrow Connector 23"/>
                <p:cNvCxnSpPr/>
                <p:nvPr/>
              </p:nvCxnSpPr>
              <p:spPr>
                <a:xfrm>
                  <a:off x="3520251" y="3881794"/>
                  <a:ext cx="1287342" cy="0"/>
                </a:xfrm>
                <a:prstGeom prst="straightConnector1">
                  <a:avLst/>
                </a:prstGeom>
                <a:ln w="38100" cap="rnd" cmpd="dbl">
                  <a:round/>
                  <a:tailEnd type="arrow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5" name="Rounded Rectangle 24"/>
                <p:cNvSpPr/>
                <p:nvPr/>
              </p:nvSpPr>
              <p:spPr>
                <a:xfrm>
                  <a:off x="2468691" y="936578"/>
                  <a:ext cx="1051560" cy="4466844"/>
                </a:xfrm>
                <a:prstGeom prst="roundRect">
                  <a:avLst>
                    <a:gd name="adj" fmla="val 8444"/>
                  </a:avLst>
                </a:prstGeom>
                <a:solidFill>
                  <a:srgbClr val="FFFFFF">
                    <a:alpha val="71000"/>
                  </a:srgbClr>
                </a:solidFill>
                <a:ln>
                  <a:solidFill>
                    <a:srgbClr val="4E80BB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rIns="0" rtlCol="0" anchor="ctr"/>
                <a:lstStyle/>
                <a:p>
                  <a:pPr algn="ctr">
                    <a:spcAft>
                      <a:spcPts val="900"/>
                    </a:spcAft>
                  </a:pPr>
                  <a:r>
                    <a:rPr lang="en-US" sz="1100" dirty="0" smtClean="0">
                      <a:solidFill>
                        <a:schemeClr val="accent1"/>
                      </a:solidFill>
                      <a:latin typeface="Segoe"/>
                    </a:rPr>
                    <a:t>Device UI: PC, </a:t>
                  </a:r>
                  <a:br>
                    <a:rPr lang="en-US" sz="1100" dirty="0" smtClean="0">
                      <a:solidFill>
                        <a:schemeClr val="accent1"/>
                      </a:solidFill>
                      <a:latin typeface="Segoe"/>
                    </a:rPr>
                  </a:br>
                  <a:r>
                    <a:rPr lang="en-US" sz="1100" dirty="0" smtClean="0">
                      <a:solidFill>
                        <a:schemeClr val="accent1"/>
                      </a:solidFill>
                      <a:latin typeface="Segoe"/>
                    </a:rPr>
                    <a:t>Mobile, Tablet, </a:t>
                  </a:r>
                  <a:br>
                    <a:rPr lang="en-US" sz="1100" dirty="0" smtClean="0">
                      <a:solidFill>
                        <a:schemeClr val="accent1"/>
                      </a:solidFill>
                      <a:latin typeface="Segoe"/>
                    </a:rPr>
                  </a:br>
                  <a:r>
                    <a:rPr lang="en-US" sz="1100" dirty="0" smtClean="0">
                      <a:solidFill>
                        <a:schemeClr val="accent1"/>
                      </a:solidFill>
                      <a:latin typeface="Segoe"/>
                    </a:rPr>
                    <a:t>Gaming, TV</a:t>
                  </a:r>
                </a:p>
                <a:p>
                  <a:pPr algn="ctr">
                    <a:spcAft>
                      <a:spcPts val="900"/>
                    </a:spcAft>
                  </a:pPr>
                  <a:r>
                    <a:rPr lang="en-US" sz="1100" dirty="0" smtClean="0">
                      <a:solidFill>
                        <a:schemeClr val="accent1"/>
                      </a:solidFill>
                      <a:latin typeface="Segoe"/>
                    </a:rPr>
                    <a:t>Browser</a:t>
                  </a:r>
                  <a:endParaRPr lang="en-US" sz="1100" dirty="0">
                    <a:solidFill>
                      <a:schemeClr val="accent1"/>
                    </a:solidFill>
                    <a:latin typeface="Segoe"/>
                  </a:endParaRPr>
                </a:p>
                <a:p>
                  <a:pPr algn="ctr">
                    <a:spcAft>
                      <a:spcPts val="900"/>
                    </a:spcAft>
                  </a:pPr>
                  <a:r>
                    <a:rPr lang="en-US" sz="1100" dirty="0" smtClean="0">
                      <a:solidFill>
                        <a:schemeClr val="accent1"/>
                      </a:solidFill>
                      <a:latin typeface="Segoe"/>
                    </a:rPr>
                    <a:t>Online Content</a:t>
                  </a:r>
                  <a:br>
                    <a:rPr lang="en-US" sz="1100" dirty="0" smtClean="0">
                      <a:solidFill>
                        <a:schemeClr val="accent1"/>
                      </a:solidFill>
                      <a:latin typeface="Segoe"/>
                    </a:rPr>
                  </a:br>
                  <a:endParaRPr lang="en-US" sz="1100" dirty="0">
                    <a:solidFill>
                      <a:schemeClr val="accent1"/>
                    </a:solidFill>
                    <a:latin typeface="Segoe"/>
                  </a:endParaRPr>
                </a:p>
                <a:p>
                  <a:pPr algn="ctr">
                    <a:spcAft>
                      <a:spcPts val="900"/>
                    </a:spcAft>
                  </a:pPr>
                  <a:r>
                    <a:rPr lang="en-US" sz="1100" dirty="0" smtClean="0">
                      <a:solidFill>
                        <a:schemeClr val="accent1"/>
                      </a:solidFill>
                      <a:latin typeface="Segoe"/>
                    </a:rPr>
                    <a:t>Cloud Services</a:t>
                  </a:r>
                  <a:endParaRPr lang="en-US" sz="1100" dirty="0">
                    <a:solidFill>
                      <a:schemeClr val="accent1"/>
                    </a:solidFill>
                    <a:latin typeface="Segoe"/>
                  </a:endParaRPr>
                </a:p>
              </p:txBody>
            </p:sp>
            <p:cxnSp>
              <p:nvCxnSpPr>
                <p:cNvPr id="26" name="Straight Arrow Connector 25"/>
                <p:cNvCxnSpPr/>
                <p:nvPr/>
              </p:nvCxnSpPr>
              <p:spPr>
                <a:xfrm>
                  <a:off x="1514260" y="1843810"/>
                  <a:ext cx="960119" cy="0"/>
                </a:xfrm>
                <a:prstGeom prst="straightConnector1">
                  <a:avLst/>
                </a:prstGeom>
                <a:ln w="38100" cap="rnd" cmpd="dbl">
                  <a:round/>
                  <a:tailEnd type="arrow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Straight Arrow Connector 26"/>
                <p:cNvCxnSpPr/>
                <p:nvPr/>
              </p:nvCxnSpPr>
              <p:spPr>
                <a:xfrm>
                  <a:off x="1514260" y="4687872"/>
                  <a:ext cx="960119" cy="0"/>
                </a:xfrm>
                <a:prstGeom prst="straightConnector1">
                  <a:avLst/>
                </a:prstGeom>
                <a:ln w="38100" cap="rnd" cmpd="dbl">
                  <a:round/>
                  <a:tailEnd type="arrow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pic>
          <p:nvPicPr>
            <p:cNvPr id="13" name="Picture 12" descr="computer.png"/>
            <p:cNvPicPr>
              <a:picLocks noChangeAspect="1"/>
            </p:cNvPicPr>
            <p:nvPr/>
          </p:nvPicPr>
          <p:blipFill>
            <a:blip r:embed="rId3" cstate="print">
              <a:alphaModFix amt="1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99964" y="1893964"/>
              <a:ext cx="409684" cy="361652"/>
            </a:xfrm>
            <a:prstGeom prst="rect">
              <a:avLst/>
            </a:prstGeom>
          </p:spPr>
        </p:pic>
        <p:pic>
          <p:nvPicPr>
            <p:cNvPr id="14" name="Picture 13" descr="laptop.png"/>
            <p:cNvPicPr>
              <a:picLocks noChangeAspect="1"/>
            </p:cNvPicPr>
            <p:nvPr/>
          </p:nvPicPr>
          <p:blipFill>
            <a:blip r:embed="rId4" cstate="print">
              <a:alphaModFix amt="1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10903" y="1484277"/>
              <a:ext cx="453577" cy="322737"/>
            </a:xfrm>
            <a:prstGeom prst="rect">
              <a:avLst/>
            </a:prstGeom>
          </p:spPr>
        </p:pic>
        <p:pic>
          <p:nvPicPr>
            <p:cNvPr id="15" name="Picture 14" descr="mobile.png"/>
            <p:cNvPicPr>
              <a:picLocks noChangeAspect="1"/>
            </p:cNvPicPr>
            <p:nvPr/>
          </p:nvPicPr>
          <p:blipFill>
            <a:blip r:embed="rId5" cstate="print">
              <a:alphaModFix amt="1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20995" y="1490092"/>
              <a:ext cx="180911" cy="313006"/>
            </a:xfrm>
            <a:prstGeom prst="rect">
              <a:avLst/>
            </a:prstGeom>
          </p:spPr>
        </p:pic>
        <p:pic>
          <p:nvPicPr>
            <p:cNvPr id="16" name="Picture 15" descr="tablet.png"/>
            <p:cNvPicPr>
              <a:picLocks noChangeAspect="1"/>
            </p:cNvPicPr>
            <p:nvPr/>
          </p:nvPicPr>
          <p:blipFill>
            <a:blip r:embed="rId6" cstate="print">
              <a:alphaModFix amt="1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43835" y="1893952"/>
              <a:ext cx="234950" cy="361664"/>
            </a:xfrm>
            <a:prstGeom prst="rect">
              <a:avLst/>
            </a:prstGeom>
          </p:spPr>
        </p:pic>
        <p:pic>
          <p:nvPicPr>
            <p:cNvPr id="17" name="Picture 16" descr="computer.png"/>
            <p:cNvPicPr>
              <a:picLocks noChangeAspect="1"/>
            </p:cNvPicPr>
            <p:nvPr/>
          </p:nvPicPr>
          <p:blipFill>
            <a:blip r:embed="rId3" cstate="print">
              <a:alphaModFix amt="1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99964" y="4535307"/>
              <a:ext cx="409684" cy="361652"/>
            </a:xfrm>
            <a:prstGeom prst="rect">
              <a:avLst/>
            </a:prstGeom>
          </p:spPr>
        </p:pic>
        <p:pic>
          <p:nvPicPr>
            <p:cNvPr id="18" name="Picture 17" descr="laptop.png"/>
            <p:cNvPicPr>
              <a:picLocks noChangeAspect="1"/>
            </p:cNvPicPr>
            <p:nvPr/>
          </p:nvPicPr>
          <p:blipFill>
            <a:blip r:embed="rId4" cstate="print">
              <a:alphaModFix amt="1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10903" y="4125620"/>
              <a:ext cx="453577" cy="322737"/>
            </a:xfrm>
            <a:prstGeom prst="rect">
              <a:avLst/>
            </a:prstGeom>
          </p:spPr>
        </p:pic>
        <p:pic>
          <p:nvPicPr>
            <p:cNvPr id="19" name="Picture 18" descr="mobile.png"/>
            <p:cNvPicPr>
              <a:picLocks noChangeAspect="1"/>
            </p:cNvPicPr>
            <p:nvPr/>
          </p:nvPicPr>
          <p:blipFill>
            <a:blip r:embed="rId5" cstate="print">
              <a:alphaModFix amt="1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20995" y="4131435"/>
              <a:ext cx="180911" cy="313006"/>
            </a:xfrm>
            <a:prstGeom prst="rect">
              <a:avLst/>
            </a:prstGeom>
          </p:spPr>
        </p:pic>
        <p:pic>
          <p:nvPicPr>
            <p:cNvPr id="20" name="Picture 19" descr="tablet.png"/>
            <p:cNvPicPr>
              <a:picLocks noChangeAspect="1"/>
            </p:cNvPicPr>
            <p:nvPr/>
          </p:nvPicPr>
          <p:blipFill>
            <a:blip r:embed="rId6" cstate="print">
              <a:alphaModFix amt="1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43835" y="4535295"/>
              <a:ext cx="234950" cy="361664"/>
            </a:xfrm>
            <a:prstGeom prst="rect">
              <a:avLst/>
            </a:prstGeom>
          </p:spPr>
        </p:pic>
      </p:grpSp>
      <p:sp>
        <p:nvSpPr>
          <p:cNvPr id="28" name="Rounded Rectangle 27"/>
          <p:cNvSpPr/>
          <p:nvPr/>
        </p:nvSpPr>
        <p:spPr>
          <a:xfrm>
            <a:off x="7563672" y="2458077"/>
            <a:ext cx="1243584" cy="1380744"/>
          </a:xfrm>
          <a:prstGeom prst="roundRect">
            <a:avLst>
              <a:gd name="adj" fmla="val 8762"/>
            </a:avLst>
          </a:prstGeom>
          <a:solidFill>
            <a:srgbClr val="FFFFFF"/>
          </a:solidFill>
          <a:ln>
            <a:noFill/>
          </a:ln>
          <a:effectLst>
            <a:outerShdw blurRad="101600" dist="50800" dir="2700000" algn="tl" rotWithShape="0">
              <a:schemeClr val="accent2">
                <a:alpha val="40000"/>
              </a:scheme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ounded Rectangle 28"/>
          <p:cNvSpPr/>
          <p:nvPr/>
        </p:nvSpPr>
        <p:spPr>
          <a:xfrm>
            <a:off x="7354353" y="5474166"/>
            <a:ext cx="777240" cy="786384"/>
          </a:xfrm>
          <a:prstGeom prst="roundRect">
            <a:avLst>
              <a:gd name="adj" fmla="val 8762"/>
            </a:avLst>
          </a:prstGeom>
          <a:solidFill>
            <a:srgbClr val="FFFFFF"/>
          </a:solidFill>
          <a:ln>
            <a:noFill/>
          </a:ln>
          <a:effectLst>
            <a:outerShdw blurRad="101600" dist="50800" dir="2700000" algn="tl" rotWithShape="0">
              <a:schemeClr val="accent2">
                <a:alpha val="40000"/>
              </a:scheme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ounded Rectangle 29"/>
          <p:cNvSpPr/>
          <p:nvPr/>
        </p:nvSpPr>
        <p:spPr>
          <a:xfrm>
            <a:off x="4914570" y="1442917"/>
            <a:ext cx="1362456" cy="1261872"/>
          </a:xfrm>
          <a:prstGeom prst="roundRect">
            <a:avLst>
              <a:gd name="adj" fmla="val 8762"/>
            </a:avLst>
          </a:prstGeom>
          <a:solidFill>
            <a:srgbClr val="FFFFFF"/>
          </a:solidFill>
          <a:ln>
            <a:noFill/>
          </a:ln>
          <a:effectLst>
            <a:outerShdw blurRad="101600" dist="50800" dir="2700000" algn="tl" rotWithShape="0">
              <a:schemeClr val="accent2">
                <a:alpha val="40000"/>
              </a:scheme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ounded Rectangle 30"/>
          <p:cNvSpPr/>
          <p:nvPr/>
        </p:nvSpPr>
        <p:spPr>
          <a:xfrm>
            <a:off x="396170" y="828071"/>
            <a:ext cx="1028222" cy="4684806"/>
          </a:xfrm>
          <a:prstGeom prst="roundRect">
            <a:avLst>
              <a:gd name="adj" fmla="val 8762"/>
            </a:avLst>
          </a:prstGeom>
          <a:solidFill>
            <a:schemeClr val="bg1"/>
          </a:solidFill>
          <a:ln>
            <a:noFill/>
          </a:ln>
          <a:effectLst>
            <a:outerShdw blurRad="101600" dist="50800" dir="2700000" algn="tl" rotWithShape="0">
              <a:schemeClr val="accent2">
                <a:alpha val="40000"/>
              </a:scheme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2" name="Group 31"/>
          <p:cNvGrpSpPr/>
          <p:nvPr/>
        </p:nvGrpSpPr>
        <p:grpSpPr>
          <a:xfrm>
            <a:off x="4685042" y="3574558"/>
            <a:ext cx="1795034" cy="274320"/>
            <a:chOff x="4685042" y="3937789"/>
            <a:chExt cx="1795034" cy="274320"/>
          </a:xfrm>
        </p:grpSpPr>
        <p:pic>
          <p:nvPicPr>
            <p:cNvPr id="33" name="Picture 32" descr="smiles.png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85042" y="3937789"/>
              <a:ext cx="269823" cy="274320"/>
            </a:xfrm>
            <a:prstGeom prst="rect">
              <a:avLst/>
            </a:prstGeom>
          </p:spPr>
        </p:pic>
        <p:pic>
          <p:nvPicPr>
            <p:cNvPr id="34" name="Picture 33" descr="smiles.png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47648" y="3937789"/>
              <a:ext cx="269823" cy="274320"/>
            </a:xfrm>
            <a:prstGeom prst="rect">
              <a:avLst/>
            </a:prstGeom>
          </p:spPr>
        </p:pic>
        <p:pic>
          <p:nvPicPr>
            <p:cNvPr id="35" name="Picture 34" descr="smiles.png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49411" y="3937789"/>
              <a:ext cx="269823" cy="274320"/>
            </a:xfrm>
            <a:prstGeom prst="rect">
              <a:avLst/>
            </a:prstGeom>
          </p:spPr>
        </p:pic>
        <p:pic>
          <p:nvPicPr>
            <p:cNvPr id="36" name="Picture 35" descr="smiles.png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62819" y="3937789"/>
              <a:ext cx="269823" cy="274320"/>
            </a:xfrm>
            <a:prstGeom prst="rect">
              <a:avLst/>
            </a:prstGeom>
          </p:spPr>
        </p:pic>
        <p:pic>
          <p:nvPicPr>
            <p:cNvPr id="37" name="Picture 36" descr="smiles.png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10253" y="3937789"/>
              <a:ext cx="269823" cy="274320"/>
            </a:xfrm>
            <a:prstGeom prst="rect">
              <a:avLst/>
            </a:prstGeom>
          </p:spPr>
        </p:pic>
      </p:grpSp>
      <p:grpSp>
        <p:nvGrpSpPr>
          <p:cNvPr id="39" name="Group 38"/>
          <p:cNvGrpSpPr/>
          <p:nvPr/>
        </p:nvGrpSpPr>
        <p:grpSpPr>
          <a:xfrm>
            <a:off x="386009" y="826801"/>
            <a:ext cx="1035026" cy="4684806"/>
            <a:chOff x="396169" y="826801"/>
            <a:chExt cx="1035026" cy="4684806"/>
          </a:xfrm>
        </p:grpSpPr>
        <p:sp>
          <p:nvSpPr>
            <p:cNvPr id="41" name="Rounded Rectangle 40"/>
            <p:cNvSpPr/>
            <p:nvPr/>
          </p:nvSpPr>
          <p:spPr>
            <a:xfrm>
              <a:off x="396169" y="826801"/>
              <a:ext cx="1035026" cy="4684806"/>
            </a:xfrm>
            <a:prstGeom prst="roundRect">
              <a:avLst>
                <a:gd name="adj" fmla="val 6036"/>
              </a:avLst>
            </a:prstGeom>
            <a:noFill/>
            <a:ln>
              <a:solidFill>
                <a:srgbClr val="4E80BB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rgbClr val="183860"/>
                  </a:solidFill>
                  <a:latin typeface="Segoe"/>
                </a:rPr>
                <a:t>Users</a:t>
              </a:r>
              <a:endParaRPr lang="en-US" dirty="0">
                <a:solidFill>
                  <a:srgbClr val="183860"/>
                </a:solidFill>
                <a:latin typeface="Segoe"/>
              </a:endParaRPr>
            </a:p>
          </p:txBody>
        </p:sp>
        <p:grpSp>
          <p:nvGrpSpPr>
            <p:cNvPr id="40" name="Group 39"/>
            <p:cNvGrpSpPr/>
            <p:nvPr/>
          </p:nvGrpSpPr>
          <p:grpSpPr>
            <a:xfrm>
              <a:off x="476554" y="916314"/>
              <a:ext cx="859664" cy="4500686"/>
              <a:chOff x="285053" y="916314"/>
              <a:chExt cx="859664" cy="4500686"/>
            </a:xfrm>
            <a:solidFill>
              <a:schemeClr val="tx1">
                <a:alpha val="6000"/>
              </a:schemeClr>
            </a:solidFill>
          </p:grpSpPr>
          <p:grpSp>
            <p:nvGrpSpPr>
              <p:cNvPr id="42" name="Group 41"/>
              <p:cNvGrpSpPr/>
              <p:nvPr/>
            </p:nvGrpSpPr>
            <p:grpSpPr>
              <a:xfrm>
                <a:off x="285053" y="916314"/>
                <a:ext cx="859662" cy="997710"/>
                <a:chOff x="285053" y="916314"/>
                <a:chExt cx="859662" cy="997710"/>
              </a:xfrm>
              <a:grpFill/>
            </p:grpSpPr>
            <p:grpSp>
              <p:nvGrpSpPr>
                <p:cNvPr id="119" name="Group 118"/>
                <p:cNvGrpSpPr/>
                <p:nvPr/>
              </p:nvGrpSpPr>
              <p:grpSpPr>
                <a:xfrm>
                  <a:off x="285053" y="916314"/>
                  <a:ext cx="241128" cy="499142"/>
                  <a:chOff x="5172263" y="964770"/>
                  <a:chExt cx="839531" cy="1737854"/>
                </a:xfrm>
                <a:grpFill/>
              </p:grpSpPr>
              <p:sp>
                <p:nvSpPr>
                  <p:cNvPr id="136" name="Oval 135"/>
                  <p:cNvSpPr/>
                  <p:nvPr/>
                </p:nvSpPr>
                <p:spPr>
                  <a:xfrm>
                    <a:off x="5366322" y="964770"/>
                    <a:ext cx="451417" cy="451418"/>
                  </a:xfrm>
                  <a:prstGeom prst="ellipse">
                    <a:avLst/>
                  </a:prstGeom>
                  <a:solidFill>
                    <a:schemeClr val="tx1">
                      <a:alpha val="11000"/>
                    </a:scheme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37" name="Round Same Side Corner Rectangle 136"/>
                  <p:cNvSpPr/>
                  <p:nvPr/>
                </p:nvSpPr>
                <p:spPr>
                  <a:xfrm>
                    <a:off x="5172263" y="1477489"/>
                    <a:ext cx="839531" cy="725994"/>
                  </a:xfrm>
                  <a:prstGeom prst="round2SameRect">
                    <a:avLst>
                      <a:gd name="adj1" fmla="val 50000"/>
                      <a:gd name="adj2" fmla="val 0"/>
                    </a:avLst>
                  </a:prstGeom>
                  <a:solidFill>
                    <a:schemeClr val="tx1">
                      <a:alpha val="11000"/>
                    </a:scheme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38" name="Rectangle 137"/>
                  <p:cNvSpPr/>
                  <p:nvPr/>
                </p:nvSpPr>
                <p:spPr>
                  <a:xfrm>
                    <a:off x="5331445" y="2203483"/>
                    <a:ext cx="521163" cy="499141"/>
                  </a:xfrm>
                  <a:prstGeom prst="rect">
                    <a:avLst/>
                  </a:prstGeom>
                  <a:solidFill>
                    <a:schemeClr val="tx1">
                      <a:alpha val="11000"/>
                    </a:scheme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grpSp>
              <p:nvGrpSpPr>
                <p:cNvPr id="120" name="Group 119"/>
                <p:cNvGrpSpPr/>
                <p:nvPr/>
              </p:nvGrpSpPr>
              <p:grpSpPr>
                <a:xfrm>
                  <a:off x="594319" y="916314"/>
                  <a:ext cx="241128" cy="499142"/>
                  <a:chOff x="5172263" y="964770"/>
                  <a:chExt cx="839532" cy="1737854"/>
                </a:xfrm>
                <a:grpFill/>
              </p:grpSpPr>
              <p:sp>
                <p:nvSpPr>
                  <p:cNvPr id="133" name="Oval 132"/>
                  <p:cNvSpPr/>
                  <p:nvPr/>
                </p:nvSpPr>
                <p:spPr>
                  <a:xfrm>
                    <a:off x="5366318" y="964770"/>
                    <a:ext cx="451418" cy="451418"/>
                  </a:xfrm>
                  <a:prstGeom prst="ellipse">
                    <a:avLst/>
                  </a:prstGeom>
                  <a:solidFill>
                    <a:schemeClr val="tx1">
                      <a:alpha val="11000"/>
                    </a:scheme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34" name="Round Same Side Corner Rectangle 133"/>
                  <p:cNvSpPr/>
                  <p:nvPr/>
                </p:nvSpPr>
                <p:spPr>
                  <a:xfrm>
                    <a:off x="5172263" y="1477489"/>
                    <a:ext cx="839532" cy="725993"/>
                  </a:xfrm>
                  <a:prstGeom prst="round2SameRect">
                    <a:avLst>
                      <a:gd name="adj1" fmla="val 50000"/>
                      <a:gd name="adj2" fmla="val 0"/>
                    </a:avLst>
                  </a:prstGeom>
                  <a:solidFill>
                    <a:schemeClr val="tx1">
                      <a:alpha val="11000"/>
                    </a:scheme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35" name="Rectangle 134"/>
                  <p:cNvSpPr/>
                  <p:nvPr/>
                </p:nvSpPr>
                <p:spPr>
                  <a:xfrm>
                    <a:off x="5331449" y="2203483"/>
                    <a:ext cx="521163" cy="499141"/>
                  </a:xfrm>
                  <a:prstGeom prst="rect">
                    <a:avLst/>
                  </a:prstGeom>
                  <a:solidFill>
                    <a:schemeClr val="tx1">
                      <a:alpha val="11000"/>
                    </a:scheme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grpSp>
              <p:nvGrpSpPr>
                <p:cNvPr id="121" name="Group 120"/>
                <p:cNvGrpSpPr/>
                <p:nvPr/>
              </p:nvGrpSpPr>
              <p:grpSpPr>
                <a:xfrm>
                  <a:off x="903587" y="916314"/>
                  <a:ext cx="241128" cy="499142"/>
                  <a:chOff x="5172263" y="964770"/>
                  <a:chExt cx="839532" cy="1737854"/>
                </a:xfrm>
                <a:grpFill/>
              </p:grpSpPr>
              <p:sp>
                <p:nvSpPr>
                  <p:cNvPr id="130" name="Oval 129"/>
                  <p:cNvSpPr/>
                  <p:nvPr/>
                </p:nvSpPr>
                <p:spPr>
                  <a:xfrm>
                    <a:off x="5366325" y="964770"/>
                    <a:ext cx="451418" cy="451418"/>
                  </a:xfrm>
                  <a:prstGeom prst="ellipse">
                    <a:avLst/>
                  </a:prstGeom>
                  <a:solidFill>
                    <a:schemeClr val="tx1">
                      <a:alpha val="11000"/>
                    </a:scheme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31" name="Round Same Side Corner Rectangle 130"/>
                  <p:cNvSpPr/>
                  <p:nvPr/>
                </p:nvSpPr>
                <p:spPr>
                  <a:xfrm>
                    <a:off x="5172263" y="1477489"/>
                    <a:ext cx="839532" cy="725994"/>
                  </a:xfrm>
                  <a:prstGeom prst="round2SameRect">
                    <a:avLst>
                      <a:gd name="adj1" fmla="val 50000"/>
                      <a:gd name="adj2" fmla="val 0"/>
                    </a:avLst>
                  </a:prstGeom>
                  <a:solidFill>
                    <a:schemeClr val="tx1">
                      <a:alpha val="11000"/>
                    </a:scheme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32" name="Rectangle 131"/>
                  <p:cNvSpPr/>
                  <p:nvPr/>
                </p:nvSpPr>
                <p:spPr>
                  <a:xfrm>
                    <a:off x="5331456" y="2203483"/>
                    <a:ext cx="521163" cy="499141"/>
                  </a:xfrm>
                  <a:prstGeom prst="rect">
                    <a:avLst/>
                  </a:prstGeom>
                  <a:solidFill>
                    <a:schemeClr val="tx1">
                      <a:alpha val="11000"/>
                    </a:scheme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grpSp>
              <p:nvGrpSpPr>
                <p:cNvPr id="122" name="Group 121"/>
                <p:cNvGrpSpPr/>
                <p:nvPr/>
              </p:nvGrpSpPr>
              <p:grpSpPr>
                <a:xfrm>
                  <a:off x="427983" y="1414882"/>
                  <a:ext cx="241128" cy="499142"/>
                  <a:chOff x="5172267" y="964770"/>
                  <a:chExt cx="839532" cy="1737854"/>
                </a:xfrm>
                <a:grpFill/>
              </p:grpSpPr>
              <p:sp>
                <p:nvSpPr>
                  <p:cNvPr id="127" name="Oval 126"/>
                  <p:cNvSpPr/>
                  <p:nvPr/>
                </p:nvSpPr>
                <p:spPr>
                  <a:xfrm>
                    <a:off x="5366324" y="964770"/>
                    <a:ext cx="451418" cy="451418"/>
                  </a:xfrm>
                  <a:prstGeom prst="ellipse">
                    <a:avLst/>
                  </a:prstGeom>
                  <a:solidFill>
                    <a:schemeClr val="tx1">
                      <a:alpha val="11000"/>
                    </a:scheme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28" name="Round Same Side Corner Rectangle 127"/>
                  <p:cNvSpPr/>
                  <p:nvPr/>
                </p:nvSpPr>
                <p:spPr>
                  <a:xfrm>
                    <a:off x="5172267" y="1477489"/>
                    <a:ext cx="839532" cy="725993"/>
                  </a:xfrm>
                  <a:prstGeom prst="round2SameRect">
                    <a:avLst>
                      <a:gd name="adj1" fmla="val 50000"/>
                      <a:gd name="adj2" fmla="val 0"/>
                    </a:avLst>
                  </a:prstGeom>
                  <a:solidFill>
                    <a:schemeClr val="tx1">
                      <a:alpha val="11000"/>
                    </a:scheme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29" name="Rectangle 128"/>
                  <p:cNvSpPr/>
                  <p:nvPr/>
                </p:nvSpPr>
                <p:spPr>
                  <a:xfrm>
                    <a:off x="5331450" y="2203483"/>
                    <a:ext cx="521163" cy="499141"/>
                  </a:xfrm>
                  <a:prstGeom prst="rect">
                    <a:avLst/>
                  </a:prstGeom>
                  <a:solidFill>
                    <a:schemeClr val="tx1">
                      <a:alpha val="11000"/>
                    </a:scheme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grpSp>
              <p:nvGrpSpPr>
                <p:cNvPr id="123" name="Group 122"/>
                <p:cNvGrpSpPr/>
                <p:nvPr/>
              </p:nvGrpSpPr>
              <p:grpSpPr>
                <a:xfrm>
                  <a:off x="747095" y="1414882"/>
                  <a:ext cx="241128" cy="499142"/>
                  <a:chOff x="5172263" y="964770"/>
                  <a:chExt cx="839532" cy="1737854"/>
                </a:xfrm>
                <a:grpFill/>
              </p:grpSpPr>
              <p:sp>
                <p:nvSpPr>
                  <p:cNvPr id="124" name="Oval 123"/>
                  <p:cNvSpPr/>
                  <p:nvPr/>
                </p:nvSpPr>
                <p:spPr>
                  <a:xfrm>
                    <a:off x="5366325" y="964770"/>
                    <a:ext cx="451418" cy="451418"/>
                  </a:xfrm>
                  <a:prstGeom prst="ellipse">
                    <a:avLst/>
                  </a:prstGeom>
                  <a:solidFill>
                    <a:schemeClr val="tx1">
                      <a:alpha val="11000"/>
                    </a:scheme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25" name="Round Same Side Corner Rectangle 124"/>
                  <p:cNvSpPr/>
                  <p:nvPr/>
                </p:nvSpPr>
                <p:spPr>
                  <a:xfrm>
                    <a:off x="5172263" y="1477489"/>
                    <a:ext cx="839532" cy="725994"/>
                  </a:xfrm>
                  <a:prstGeom prst="round2SameRect">
                    <a:avLst>
                      <a:gd name="adj1" fmla="val 50000"/>
                      <a:gd name="adj2" fmla="val 0"/>
                    </a:avLst>
                  </a:prstGeom>
                  <a:solidFill>
                    <a:schemeClr val="tx1">
                      <a:alpha val="11000"/>
                    </a:scheme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26" name="Rectangle 125"/>
                  <p:cNvSpPr/>
                  <p:nvPr/>
                </p:nvSpPr>
                <p:spPr>
                  <a:xfrm>
                    <a:off x="5331456" y="2203483"/>
                    <a:ext cx="521163" cy="499141"/>
                  </a:xfrm>
                  <a:prstGeom prst="rect">
                    <a:avLst/>
                  </a:prstGeom>
                  <a:solidFill>
                    <a:schemeClr val="tx1">
                      <a:alpha val="11000"/>
                    </a:scheme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</p:grpSp>
          <p:grpSp>
            <p:nvGrpSpPr>
              <p:cNvPr id="43" name="Group 42"/>
              <p:cNvGrpSpPr/>
              <p:nvPr/>
            </p:nvGrpSpPr>
            <p:grpSpPr>
              <a:xfrm>
                <a:off x="285053" y="1916464"/>
                <a:ext cx="859663" cy="997710"/>
                <a:chOff x="285053" y="916314"/>
                <a:chExt cx="859663" cy="997710"/>
              </a:xfrm>
              <a:grpFill/>
            </p:grpSpPr>
            <p:grpSp>
              <p:nvGrpSpPr>
                <p:cNvPr id="99" name="Group 98"/>
                <p:cNvGrpSpPr/>
                <p:nvPr/>
              </p:nvGrpSpPr>
              <p:grpSpPr>
                <a:xfrm>
                  <a:off x="285053" y="916314"/>
                  <a:ext cx="241128" cy="499142"/>
                  <a:chOff x="5172267" y="964770"/>
                  <a:chExt cx="839532" cy="1737854"/>
                </a:xfrm>
                <a:grpFill/>
              </p:grpSpPr>
              <p:sp>
                <p:nvSpPr>
                  <p:cNvPr id="116" name="Oval 115"/>
                  <p:cNvSpPr/>
                  <p:nvPr/>
                </p:nvSpPr>
                <p:spPr>
                  <a:xfrm>
                    <a:off x="5366326" y="964770"/>
                    <a:ext cx="451418" cy="451418"/>
                  </a:xfrm>
                  <a:prstGeom prst="ellipse">
                    <a:avLst/>
                  </a:prstGeom>
                  <a:solidFill>
                    <a:srgbClr val="000000">
                      <a:alpha val="11000"/>
                    </a:srgb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17" name="Round Same Side Corner Rectangle 116"/>
                  <p:cNvSpPr/>
                  <p:nvPr/>
                </p:nvSpPr>
                <p:spPr>
                  <a:xfrm>
                    <a:off x="5172267" y="1477490"/>
                    <a:ext cx="839532" cy="725993"/>
                  </a:xfrm>
                  <a:prstGeom prst="round2SameRect">
                    <a:avLst>
                      <a:gd name="adj1" fmla="val 50000"/>
                      <a:gd name="adj2" fmla="val 0"/>
                    </a:avLst>
                  </a:prstGeom>
                  <a:solidFill>
                    <a:srgbClr val="000000">
                      <a:alpha val="11000"/>
                    </a:srgb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18" name="Rectangle 117"/>
                  <p:cNvSpPr/>
                  <p:nvPr/>
                </p:nvSpPr>
                <p:spPr>
                  <a:xfrm>
                    <a:off x="5331449" y="2203483"/>
                    <a:ext cx="521163" cy="499141"/>
                  </a:xfrm>
                  <a:prstGeom prst="rect">
                    <a:avLst/>
                  </a:prstGeom>
                  <a:solidFill>
                    <a:srgbClr val="000000">
                      <a:alpha val="11000"/>
                    </a:srgb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grpSp>
              <p:nvGrpSpPr>
                <p:cNvPr id="100" name="Group 99"/>
                <p:cNvGrpSpPr/>
                <p:nvPr/>
              </p:nvGrpSpPr>
              <p:grpSpPr>
                <a:xfrm>
                  <a:off x="594320" y="916314"/>
                  <a:ext cx="241128" cy="499142"/>
                  <a:chOff x="5172267" y="964770"/>
                  <a:chExt cx="839532" cy="1737854"/>
                </a:xfrm>
                <a:grpFill/>
              </p:grpSpPr>
              <p:sp>
                <p:nvSpPr>
                  <p:cNvPr id="113" name="Oval 112"/>
                  <p:cNvSpPr/>
                  <p:nvPr/>
                </p:nvSpPr>
                <p:spPr>
                  <a:xfrm>
                    <a:off x="5366326" y="964770"/>
                    <a:ext cx="451418" cy="451418"/>
                  </a:xfrm>
                  <a:prstGeom prst="ellipse">
                    <a:avLst/>
                  </a:prstGeom>
                  <a:solidFill>
                    <a:srgbClr val="000000">
                      <a:alpha val="11000"/>
                    </a:srgb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14" name="Round Same Side Corner Rectangle 113"/>
                  <p:cNvSpPr/>
                  <p:nvPr/>
                </p:nvSpPr>
                <p:spPr>
                  <a:xfrm>
                    <a:off x="5172267" y="1477490"/>
                    <a:ext cx="839532" cy="725993"/>
                  </a:xfrm>
                  <a:prstGeom prst="round2SameRect">
                    <a:avLst>
                      <a:gd name="adj1" fmla="val 50000"/>
                      <a:gd name="adj2" fmla="val 0"/>
                    </a:avLst>
                  </a:prstGeom>
                  <a:solidFill>
                    <a:srgbClr val="000000">
                      <a:alpha val="11000"/>
                    </a:srgb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15" name="Rectangle 114"/>
                  <p:cNvSpPr/>
                  <p:nvPr/>
                </p:nvSpPr>
                <p:spPr>
                  <a:xfrm>
                    <a:off x="5331449" y="2203483"/>
                    <a:ext cx="521163" cy="499141"/>
                  </a:xfrm>
                  <a:prstGeom prst="rect">
                    <a:avLst/>
                  </a:prstGeom>
                  <a:solidFill>
                    <a:srgbClr val="000000">
                      <a:alpha val="11000"/>
                    </a:srgb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grpSp>
              <p:nvGrpSpPr>
                <p:cNvPr id="101" name="Group 100"/>
                <p:cNvGrpSpPr/>
                <p:nvPr/>
              </p:nvGrpSpPr>
              <p:grpSpPr>
                <a:xfrm>
                  <a:off x="903588" y="916314"/>
                  <a:ext cx="241128" cy="499142"/>
                  <a:chOff x="5172267" y="964770"/>
                  <a:chExt cx="839532" cy="1737854"/>
                </a:xfrm>
                <a:grpFill/>
              </p:grpSpPr>
              <p:sp>
                <p:nvSpPr>
                  <p:cNvPr id="110" name="Oval 109"/>
                  <p:cNvSpPr/>
                  <p:nvPr/>
                </p:nvSpPr>
                <p:spPr>
                  <a:xfrm>
                    <a:off x="5366326" y="964770"/>
                    <a:ext cx="451418" cy="451418"/>
                  </a:xfrm>
                  <a:prstGeom prst="ellipse">
                    <a:avLst/>
                  </a:prstGeom>
                  <a:solidFill>
                    <a:srgbClr val="000000">
                      <a:alpha val="11000"/>
                    </a:srgb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11" name="Round Same Side Corner Rectangle 110"/>
                  <p:cNvSpPr/>
                  <p:nvPr/>
                </p:nvSpPr>
                <p:spPr>
                  <a:xfrm>
                    <a:off x="5172267" y="1477490"/>
                    <a:ext cx="839532" cy="725993"/>
                  </a:xfrm>
                  <a:prstGeom prst="round2SameRect">
                    <a:avLst>
                      <a:gd name="adj1" fmla="val 50000"/>
                      <a:gd name="adj2" fmla="val 0"/>
                    </a:avLst>
                  </a:prstGeom>
                  <a:solidFill>
                    <a:srgbClr val="000000">
                      <a:alpha val="11000"/>
                    </a:srgb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12" name="Rectangle 111"/>
                  <p:cNvSpPr/>
                  <p:nvPr/>
                </p:nvSpPr>
                <p:spPr>
                  <a:xfrm>
                    <a:off x="5331449" y="2203483"/>
                    <a:ext cx="521163" cy="499141"/>
                  </a:xfrm>
                  <a:prstGeom prst="rect">
                    <a:avLst/>
                  </a:prstGeom>
                  <a:solidFill>
                    <a:srgbClr val="000000">
                      <a:alpha val="11000"/>
                    </a:srgb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grpSp>
              <p:nvGrpSpPr>
                <p:cNvPr id="102" name="Group 101"/>
                <p:cNvGrpSpPr/>
                <p:nvPr/>
              </p:nvGrpSpPr>
              <p:grpSpPr>
                <a:xfrm>
                  <a:off x="427983" y="1414882"/>
                  <a:ext cx="241128" cy="499142"/>
                  <a:chOff x="5172267" y="964770"/>
                  <a:chExt cx="839532" cy="1737854"/>
                </a:xfrm>
                <a:grpFill/>
              </p:grpSpPr>
              <p:sp>
                <p:nvSpPr>
                  <p:cNvPr id="107" name="Oval 106"/>
                  <p:cNvSpPr/>
                  <p:nvPr/>
                </p:nvSpPr>
                <p:spPr>
                  <a:xfrm>
                    <a:off x="5366326" y="964770"/>
                    <a:ext cx="451418" cy="451418"/>
                  </a:xfrm>
                  <a:prstGeom prst="ellipse">
                    <a:avLst/>
                  </a:prstGeom>
                  <a:solidFill>
                    <a:srgbClr val="000000">
                      <a:alpha val="11000"/>
                    </a:srgb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08" name="Round Same Side Corner Rectangle 107"/>
                  <p:cNvSpPr/>
                  <p:nvPr/>
                </p:nvSpPr>
                <p:spPr>
                  <a:xfrm>
                    <a:off x="5172267" y="1477490"/>
                    <a:ext cx="839532" cy="725993"/>
                  </a:xfrm>
                  <a:prstGeom prst="round2SameRect">
                    <a:avLst>
                      <a:gd name="adj1" fmla="val 50000"/>
                      <a:gd name="adj2" fmla="val 0"/>
                    </a:avLst>
                  </a:prstGeom>
                  <a:solidFill>
                    <a:srgbClr val="000000">
                      <a:alpha val="11000"/>
                    </a:srgb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09" name="Rectangle 108"/>
                  <p:cNvSpPr/>
                  <p:nvPr/>
                </p:nvSpPr>
                <p:spPr>
                  <a:xfrm>
                    <a:off x="5331449" y="2203483"/>
                    <a:ext cx="521163" cy="499141"/>
                  </a:xfrm>
                  <a:prstGeom prst="rect">
                    <a:avLst/>
                  </a:prstGeom>
                  <a:solidFill>
                    <a:srgbClr val="000000">
                      <a:alpha val="11000"/>
                    </a:srgb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grpSp>
              <p:nvGrpSpPr>
                <p:cNvPr id="103" name="Group 102"/>
                <p:cNvGrpSpPr/>
                <p:nvPr/>
              </p:nvGrpSpPr>
              <p:grpSpPr>
                <a:xfrm>
                  <a:off x="747096" y="1414882"/>
                  <a:ext cx="241128" cy="499142"/>
                  <a:chOff x="5172267" y="964770"/>
                  <a:chExt cx="839532" cy="1737854"/>
                </a:xfrm>
                <a:grpFill/>
              </p:grpSpPr>
              <p:sp>
                <p:nvSpPr>
                  <p:cNvPr id="104" name="Oval 103"/>
                  <p:cNvSpPr/>
                  <p:nvPr/>
                </p:nvSpPr>
                <p:spPr>
                  <a:xfrm>
                    <a:off x="5366326" y="964770"/>
                    <a:ext cx="451418" cy="451418"/>
                  </a:xfrm>
                  <a:prstGeom prst="ellipse">
                    <a:avLst/>
                  </a:prstGeom>
                  <a:solidFill>
                    <a:srgbClr val="000000">
                      <a:alpha val="11000"/>
                    </a:srgb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05" name="Round Same Side Corner Rectangle 104"/>
                  <p:cNvSpPr/>
                  <p:nvPr/>
                </p:nvSpPr>
                <p:spPr>
                  <a:xfrm>
                    <a:off x="5172267" y="1477490"/>
                    <a:ext cx="839532" cy="725993"/>
                  </a:xfrm>
                  <a:prstGeom prst="round2SameRect">
                    <a:avLst>
                      <a:gd name="adj1" fmla="val 50000"/>
                      <a:gd name="adj2" fmla="val 0"/>
                    </a:avLst>
                  </a:prstGeom>
                  <a:solidFill>
                    <a:srgbClr val="000000">
                      <a:alpha val="11000"/>
                    </a:srgb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06" name="Rectangle 105"/>
                  <p:cNvSpPr/>
                  <p:nvPr/>
                </p:nvSpPr>
                <p:spPr>
                  <a:xfrm>
                    <a:off x="5331451" y="2203482"/>
                    <a:ext cx="521164" cy="499142"/>
                  </a:xfrm>
                  <a:prstGeom prst="rect">
                    <a:avLst/>
                  </a:prstGeom>
                  <a:solidFill>
                    <a:srgbClr val="000000">
                      <a:alpha val="11000"/>
                    </a:srgb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</p:grpSp>
          <p:grpSp>
            <p:nvGrpSpPr>
              <p:cNvPr id="44" name="Group 43"/>
              <p:cNvGrpSpPr/>
              <p:nvPr/>
            </p:nvGrpSpPr>
            <p:grpSpPr>
              <a:xfrm>
                <a:off x="285053" y="2914174"/>
                <a:ext cx="859664" cy="997710"/>
                <a:chOff x="285053" y="916314"/>
                <a:chExt cx="859664" cy="997710"/>
              </a:xfrm>
              <a:grpFill/>
            </p:grpSpPr>
            <p:grpSp>
              <p:nvGrpSpPr>
                <p:cNvPr id="79" name="Group 78"/>
                <p:cNvGrpSpPr/>
                <p:nvPr/>
              </p:nvGrpSpPr>
              <p:grpSpPr>
                <a:xfrm>
                  <a:off x="285053" y="916314"/>
                  <a:ext cx="241128" cy="499142"/>
                  <a:chOff x="5172267" y="964770"/>
                  <a:chExt cx="839532" cy="1737854"/>
                </a:xfrm>
                <a:grpFill/>
              </p:grpSpPr>
              <p:sp>
                <p:nvSpPr>
                  <p:cNvPr id="96" name="Oval 95"/>
                  <p:cNvSpPr/>
                  <p:nvPr/>
                </p:nvSpPr>
                <p:spPr>
                  <a:xfrm>
                    <a:off x="5366326" y="964770"/>
                    <a:ext cx="451418" cy="451417"/>
                  </a:xfrm>
                  <a:prstGeom prst="ellipse">
                    <a:avLst/>
                  </a:prstGeom>
                  <a:solidFill>
                    <a:srgbClr val="000000">
                      <a:alpha val="10000"/>
                    </a:srgb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97" name="Round Same Side Corner Rectangle 96"/>
                  <p:cNvSpPr/>
                  <p:nvPr/>
                </p:nvSpPr>
                <p:spPr>
                  <a:xfrm>
                    <a:off x="5172267" y="1477490"/>
                    <a:ext cx="839532" cy="725993"/>
                  </a:xfrm>
                  <a:prstGeom prst="round2SameRect">
                    <a:avLst>
                      <a:gd name="adj1" fmla="val 50000"/>
                      <a:gd name="adj2" fmla="val 0"/>
                    </a:avLst>
                  </a:prstGeom>
                  <a:solidFill>
                    <a:srgbClr val="000000">
                      <a:alpha val="10000"/>
                    </a:srgb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98" name="Rectangle 97"/>
                  <p:cNvSpPr/>
                  <p:nvPr/>
                </p:nvSpPr>
                <p:spPr>
                  <a:xfrm>
                    <a:off x="5331450" y="2203483"/>
                    <a:ext cx="521163" cy="499141"/>
                  </a:xfrm>
                  <a:prstGeom prst="rect">
                    <a:avLst/>
                  </a:prstGeom>
                  <a:solidFill>
                    <a:srgbClr val="000000">
                      <a:alpha val="10000"/>
                    </a:srgb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grpSp>
              <p:nvGrpSpPr>
                <p:cNvPr id="80" name="Group 79"/>
                <p:cNvGrpSpPr/>
                <p:nvPr/>
              </p:nvGrpSpPr>
              <p:grpSpPr>
                <a:xfrm>
                  <a:off x="594320" y="916314"/>
                  <a:ext cx="241128" cy="499142"/>
                  <a:chOff x="5172267" y="964770"/>
                  <a:chExt cx="839532" cy="1737854"/>
                </a:xfrm>
                <a:grpFill/>
              </p:grpSpPr>
              <p:sp>
                <p:nvSpPr>
                  <p:cNvPr id="93" name="Oval 92"/>
                  <p:cNvSpPr/>
                  <p:nvPr/>
                </p:nvSpPr>
                <p:spPr>
                  <a:xfrm>
                    <a:off x="5366326" y="964770"/>
                    <a:ext cx="451418" cy="451417"/>
                  </a:xfrm>
                  <a:prstGeom prst="ellipse">
                    <a:avLst/>
                  </a:prstGeom>
                  <a:solidFill>
                    <a:srgbClr val="000000">
                      <a:alpha val="10000"/>
                    </a:srgb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94" name="Round Same Side Corner Rectangle 93"/>
                  <p:cNvSpPr/>
                  <p:nvPr/>
                </p:nvSpPr>
                <p:spPr>
                  <a:xfrm>
                    <a:off x="5172267" y="1477490"/>
                    <a:ext cx="839532" cy="725992"/>
                  </a:xfrm>
                  <a:prstGeom prst="round2SameRect">
                    <a:avLst>
                      <a:gd name="adj1" fmla="val 50000"/>
                      <a:gd name="adj2" fmla="val 0"/>
                    </a:avLst>
                  </a:prstGeom>
                  <a:solidFill>
                    <a:srgbClr val="000000">
                      <a:alpha val="11000"/>
                    </a:srgb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95" name="Rectangle 94"/>
                  <p:cNvSpPr/>
                  <p:nvPr/>
                </p:nvSpPr>
                <p:spPr>
                  <a:xfrm>
                    <a:off x="5331450" y="2203483"/>
                    <a:ext cx="521163" cy="499141"/>
                  </a:xfrm>
                  <a:prstGeom prst="rect">
                    <a:avLst/>
                  </a:prstGeom>
                  <a:solidFill>
                    <a:srgbClr val="000000">
                      <a:alpha val="10000"/>
                    </a:srgb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grpSp>
              <p:nvGrpSpPr>
                <p:cNvPr id="81" name="Group 80"/>
                <p:cNvGrpSpPr/>
                <p:nvPr/>
              </p:nvGrpSpPr>
              <p:grpSpPr>
                <a:xfrm>
                  <a:off x="903589" y="916314"/>
                  <a:ext cx="241128" cy="499142"/>
                  <a:chOff x="5172267" y="964770"/>
                  <a:chExt cx="839532" cy="1737854"/>
                </a:xfrm>
                <a:grpFill/>
              </p:grpSpPr>
              <p:sp>
                <p:nvSpPr>
                  <p:cNvPr id="90" name="Oval 89"/>
                  <p:cNvSpPr/>
                  <p:nvPr/>
                </p:nvSpPr>
                <p:spPr>
                  <a:xfrm>
                    <a:off x="5366322" y="964770"/>
                    <a:ext cx="451418" cy="451417"/>
                  </a:xfrm>
                  <a:prstGeom prst="ellipse">
                    <a:avLst/>
                  </a:prstGeom>
                  <a:solidFill>
                    <a:srgbClr val="000000">
                      <a:alpha val="10000"/>
                    </a:srgb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91" name="Round Same Side Corner Rectangle 90"/>
                  <p:cNvSpPr/>
                  <p:nvPr/>
                </p:nvSpPr>
                <p:spPr>
                  <a:xfrm>
                    <a:off x="5172267" y="1477490"/>
                    <a:ext cx="839532" cy="725993"/>
                  </a:xfrm>
                  <a:prstGeom prst="round2SameRect">
                    <a:avLst>
                      <a:gd name="adj1" fmla="val 50000"/>
                      <a:gd name="adj2" fmla="val 0"/>
                    </a:avLst>
                  </a:prstGeom>
                  <a:solidFill>
                    <a:srgbClr val="000000">
                      <a:alpha val="10000"/>
                    </a:srgb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92" name="Rectangle 91"/>
                  <p:cNvSpPr/>
                  <p:nvPr/>
                </p:nvSpPr>
                <p:spPr>
                  <a:xfrm>
                    <a:off x="5331457" y="2203483"/>
                    <a:ext cx="521163" cy="499141"/>
                  </a:xfrm>
                  <a:prstGeom prst="rect">
                    <a:avLst/>
                  </a:prstGeom>
                  <a:solidFill>
                    <a:srgbClr val="000000">
                      <a:alpha val="10000"/>
                    </a:srgb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grpSp>
              <p:nvGrpSpPr>
                <p:cNvPr id="82" name="Group 81"/>
                <p:cNvGrpSpPr/>
                <p:nvPr/>
              </p:nvGrpSpPr>
              <p:grpSpPr>
                <a:xfrm>
                  <a:off x="427983" y="1414882"/>
                  <a:ext cx="241128" cy="499142"/>
                  <a:chOff x="5172267" y="964770"/>
                  <a:chExt cx="839532" cy="1737854"/>
                </a:xfrm>
                <a:grpFill/>
              </p:grpSpPr>
              <p:sp>
                <p:nvSpPr>
                  <p:cNvPr id="87" name="Oval 86"/>
                  <p:cNvSpPr/>
                  <p:nvPr/>
                </p:nvSpPr>
                <p:spPr>
                  <a:xfrm>
                    <a:off x="5366326" y="964770"/>
                    <a:ext cx="451418" cy="451417"/>
                  </a:xfrm>
                  <a:prstGeom prst="ellipse">
                    <a:avLst/>
                  </a:prstGeom>
                  <a:solidFill>
                    <a:srgbClr val="000000">
                      <a:alpha val="10000"/>
                    </a:srgb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88" name="Round Same Side Corner Rectangle 87"/>
                  <p:cNvSpPr/>
                  <p:nvPr/>
                </p:nvSpPr>
                <p:spPr>
                  <a:xfrm>
                    <a:off x="5172267" y="1477490"/>
                    <a:ext cx="839532" cy="725993"/>
                  </a:xfrm>
                  <a:prstGeom prst="round2SameRect">
                    <a:avLst>
                      <a:gd name="adj1" fmla="val 50000"/>
                      <a:gd name="adj2" fmla="val 0"/>
                    </a:avLst>
                  </a:prstGeom>
                  <a:solidFill>
                    <a:srgbClr val="000000">
                      <a:alpha val="10000"/>
                    </a:srgb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89" name="Rectangle 88"/>
                  <p:cNvSpPr/>
                  <p:nvPr/>
                </p:nvSpPr>
                <p:spPr>
                  <a:xfrm>
                    <a:off x="5331450" y="2203483"/>
                    <a:ext cx="521163" cy="499141"/>
                  </a:xfrm>
                  <a:prstGeom prst="rect">
                    <a:avLst/>
                  </a:prstGeom>
                  <a:solidFill>
                    <a:srgbClr val="000000">
                      <a:alpha val="10000"/>
                    </a:srgb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grpSp>
              <p:nvGrpSpPr>
                <p:cNvPr id="83" name="Group 82"/>
                <p:cNvGrpSpPr/>
                <p:nvPr/>
              </p:nvGrpSpPr>
              <p:grpSpPr>
                <a:xfrm>
                  <a:off x="747096" y="1414882"/>
                  <a:ext cx="241128" cy="499142"/>
                  <a:chOff x="5172267" y="964770"/>
                  <a:chExt cx="839532" cy="1737854"/>
                </a:xfrm>
                <a:grpFill/>
              </p:grpSpPr>
              <p:sp>
                <p:nvSpPr>
                  <p:cNvPr id="84" name="Oval 83"/>
                  <p:cNvSpPr/>
                  <p:nvPr/>
                </p:nvSpPr>
                <p:spPr>
                  <a:xfrm>
                    <a:off x="5366326" y="964770"/>
                    <a:ext cx="451418" cy="451417"/>
                  </a:xfrm>
                  <a:prstGeom prst="ellipse">
                    <a:avLst/>
                  </a:prstGeom>
                  <a:solidFill>
                    <a:srgbClr val="000000">
                      <a:alpha val="10000"/>
                    </a:srgb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85" name="Round Same Side Corner Rectangle 84"/>
                  <p:cNvSpPr/>
                  <p:nvPr/>
                </p:nvSpPr>
                <p:spPr>
                  <a:xfrm>
                    <a:off x="5172267" y="1477490"/>
                    <a:ext cx="839532" cy="725993"/>
                  </a:xfrm>
                  <a:prstGeom prst="round2SameRect">
                    <a:avLst>
                      <a:gd name="adj1" fmla="val 50000"/>
                      <a:gd name="adj2" fmla="val 0"/>
                    </a:avLst>
                  </a:prstGeom>
                  <a:solidFill>
                    <a:srgbClr val="000000">
                      <a:alpha val="10000"/>
                    </a:srgb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86" name="Rectangle 85"/>
                  <p:cNvSpPr/>
                  <p:nvPr/>
                </p:nvSpPr>
                <p:spPr>
                  <a:xfrm>
                    <a:off x="5331450" y="2203483"/>
                    <a:ext cx="521163" cy="499141"/>
                  </a:xfrm>
                  <a:prstGeom prst="rect">
                    <a:avLst/>
                  </a:prstGeom>
                  <a:solidFill>
                    <a:srgbClr val="000000">
                      <a:alpha val="10000"/>
                    </a:srgb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</p:grpSp>
          <p:grpSp>
            <p:nvGrpSpPr>
              <p:cNvPr id="45" name="Group 44"/>
              <p:cNvGrpSpPr/>
              <p:nvPr/>
            </p:nvGrpSpPr>
            <p:grpSpPr>
              <a:xfrm>
                <a:off x="285053" y="3917712"/>
                <a:ext cx="859663" cy="997710"/>
                <a:chOff x="285053" y="916314"/>
                <a:chExt cx="859663" cy="997710"/>
              </a:xfrm>
              <a:grpFill/>
            </p:grpSpPr>
            <p:grpSp>
              <p:nvGrpSpPr>
                <p:cNvPr id="59" name="Group 58"/>
                <p:cNvGrpSpPr/>
                <p:nvPr/>
              </p:nvGrpSpPr>
              <p:grpSpPr>
                <a:xfrm>
                  <a:off x="285053" y="916314"/>
                  <a:ext cx="241128" cy="499142"/>
                  <a:chOff x="5172267" y="964770"/>
                  <a:chExt cx="839532" cy="1737854"/>
                </a:xfrm>
                <a:grpFill/>
              </p:grpSpPr>
              <p:sp>
                <p:nvSpPr>
                  <p:cNvPr id="76" name="Oval 75"/>
                  <p:cNvSpPr/>
                  <p:nvPr/>
                </p:nvSpPr>
                <p:spPr>
                  <a:xfrm>
                    <a:off x="5366326" y="964770"/>
                    <a:ext cx="451418" cy="451417"/>
                  </a:xfrm>
                  <a:prstGeom prst="ellipse">
                    <a:avLst/>
                  </a:prstGeom>
                  <a:solidFill>
                    <a:srgbClr val="000000">
                      <a:alpha val="10000"/>
                    </a:srgb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77" name="Round Same Side Corner Rectangle 76"/>
                  <p:cNvSpPr/>
                  <p:nvPr/>
                </p:nvSpPr>
                <p:spPr>
                  <a:xfrm>
                    <a:off x="5172267" y="1477490"/>
                    <a:ext cx="839532" cy="725993"/>
                  </a:xfrm>
                  <a:prstGeom prst="round2SameRect">
                    <a:avLst>
                      <a:gd name="adj1" fmla="val 50000"/>
                      <a:gd name="adj2" fmla="val 0"/>
                    </a:avLst>
                  </a:prstGeom>
                  <a:solidFill>
                    <a:srgbClr val="000000">
                      <a:alpha val="10000"/>
                    </a:srgb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78" name="Rectangle 77"/>
                  <p:cNvSpPr/>
                  <p:nvPr/>
                </p:nvSpPr>
                <p:spPr>
                  <a:xfrm>
                    <a:off x="5331450" y="2203483"/>
                    <a:ext cx="521163" cy="499141"/>
                  </a:xfrm>
                  <a:prstGeom prst="rect">
                    <a:avLst/>
                  </a:prstGeom>
                  <a:solidFill>
                    <a:srgbClr val="000000">
                      <a:alpha val="10000"/>
                    </a:srgb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grpSp>
              <p:nvGrpSpPr>
                <p:cNvPr id="60" name="Group 59"/>
                <p:cNvGrpSpPr/>
                <p:nvPr/>
              </p:nvGrpSpPr>
              <p:grpSpPr>
                <a:xfrm>
                  <a:off x="594320" y="916314"/>
                  <a:ext cx="241128" cy="499142"/>
                  <a:chOff x="5172267" y="964770"/>
                  <a:chExt cx="839532" cy="1737854"/>
                </a:xfrm>
                <a:grpFill/>
              </p:grpSpPr>
              <p:sp>
                <p:nvSpPr>
                  <p:cNvPr id="73" name="Oval 72"/>
                  <p:cNvSpPr/>
                  <p:nvPr/>
                </p:nvSpPr>
                <p:spPr>
                  <a:xfrm>
                    <a:off x="5366326" y="964770"/>
                    <a:ext cx="451418" cy="451417"/>
                  </a:xfrm>
                  <a:prstGeom prst="ellipse">
                    <a:avLst/>
                  </a:prstGeom>
                  <a:solidFill>
                    <a:srgbClr val="000000">
                      <a:alpha val="10000"/>
                    </a:srgb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74" name="Round Same Side Corner Rectangle 73"/>
                  <p:cNvSpPr/>
                  <p:nvPr/>
                </p:nvSpPr>
                <p:spPr>
                  <a:xfrm>
                    <a:off x="5172267" y="1477490"/>
                    <a:ext cx="839532" cy="725993"/>
                  </a:xfrm>
                  <a:prstGeom prst="round2SameRect">
                    <a:avLst>
                      <a:gd name="adj1" fmla="val 50000"/>
                      <a:gd name="adj2" fmla="val 0"/>
                    </a:avLst>
                  </a:prstGeom>
                  <a:solidFill>
                    <a:srgbClr val="000000">
                      <a:alpha val="10000"/>
                    </a:srgb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75" name="Rectangle 74"/>
                  <p:cNvSpPr/>
                  <p:nvPr/>
                </p:nvSpPr>
                <p:spPr>
                  <a:xfrm>
                    <a:off x="5331450" y="2203483"/>
                    <a:ext cx="521163" cy="499141"/>
                  </a:xfrm>
                  <a:prstGeom prst="rect">
                    <a:avLst/>
                  </a:prstGeom>
                  <a:solidFill>
                    <a:srgbClr val="000000">
                      <a:alpha val="10000"/>
                    </a:srgb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grpSp>
              <p:nvGrpSpPr>
                <p:cNvPr id="61" name="Group 60"/>
                <p:cNvGrpSpPr/>
                <p:nvPr/>
              </p:nvGrpSpPr>
              <p:grpSpPr>
                <a:xfrm>
                  <a:off x="903588" y="916314"/>
                  <a:ext cx="241128" cy="499142"/>
                  <a:chOff x="5172267" y="964770"/>
                  <a:chExt cx="839532" cy="1737854"/>
                </a:xfrm>
                <a:grpFill/>
              </p:grpSpPr>
              <p:sp>
                <p:nvSpPr>
                  <p:cNvPr id="70" name="Oval 69"/>
                  <p:cNvSpPr/>
                  <p:nvPr/>
                </p:nvSpPr>
                <p:spPr>
                  <a:xfrm>
                    <a:off x="5366326" y="964770"/>
                    <a:ext cx="451418" cy="451417"/>
                  </a:xfrm>
                  <a:prstGeom prst="ellipse">
                    <a:avLst/>
                  </a:prstGeom>
                  <a:solidFill>
                    <a:srgbClr val="000000">
                      <a:alpha val="10000"/>
                    </a:srgb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71" name="Round Same Side Corner Rectangle 70"/>
                  <p:cNvSpPr/>
                  <p:nvPr/>
                </p:nvSpPr>
                <p:spPr>
                  <a:xfrm>
                    <a:off x="5172267" y="1477490"/>
                    <a:ext cx="839532" cy="725993"/>
                  </a:xfrm>
                  <a:prstGeom prst="round2SameRect">
                    <a:avLst>
                      <a:gd name="adj1" fmla="val 50000"/>
                      <a:gd name="adj2" fmla="val 0"/>
                    </a:avLst>
                  </a:prstGeom>
                  <a:solidFill>
                    <a:srgbClr val="000000">
                      <a:alpha val="10000"/>
                    </a:srgb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72" name="Rectangle 71"/>
                  <p:cNvSpPr/>
                  <p:nvPr/>
                </p:nvSpPr>
                <p:spPr>
                  <a:xfrm>
                    <a:off x="5331450" y="2203483"/>
                    <a:ext cx="521163" cy="499141"/>
                  </a:xfrm>
                  <a:prstGeom prst="rect">
                    <a:avLst/>
                  </a:prstGeom>
                  <a:solidFill>
                    <a:srgbClr val="000000">
                      <a:alpha val="10000"/>
                    </a:srgb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grpSp>
              <p:nvGrpSpPr>
                <p:cNvPr id="62" name="Group 61"/>
                <p:cNvGrpSpPr/>
                <p:nvPr/>
              </p:nvGrpSpPr>
              <p:grpSpPr>
                <a:xfrm>
                  <a:off x="427983" y="1414882"/>
                  <a:ext cx="241128" cy="499142"/>
                  <a:chOff x="5172267" y="964770"/>
                  <a:chExt cx="839532" cy="1737854"/>
                </a:xfrm>
                <a:grpFill/>
              </p:grpSpPr>
              <p:sp>
                <p:nvSpPr>
                  <p:cNvPr id="67" name="Oval 66"/>
                  <p:cNvSpPr/>
                  <p:nvPr/>
                </p:nvSpPr>
                <p:spPr>
                  <a:xfrm>
                    <a:off x="5366326" y="964770"/>
                    <a:ext cx="451418" cy="451417"/>
                  </a:xfrm>
                  <a:prstGeom prst="ellipse">
                    <a:avLst/>
                  </a:prstGeom>
                  <a:solidFill>
                    <a:srgbClr val="000000">
                      <a:alpha val="10000"/>
                    </a:srgb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68" name="Round Same Side Corner Rectangle 67"/>
                  <p:cNvSpPr/>
                  <p:nvPr/>
                </p:nvSpPr>
                <p:spPr>
                  <a:xfrm>
                    <a:off x="5172267" y="1477490"/>
                    <a:ext cx="839532" cy="725992"/>
                  </a:xfrm>
                  <a:prstGeom prst="round2SameRect">
                    <a:avLst>
                      <a:gd name="adj1" fmla="val 50000"/>
                      <a:gd name="adj2" fmla="val 0"/>
                    </a:avLst>
                  </a:prstGeom>
                  <a:solidFill>
                    <a:srgbClr val="000000">
                      <a:alpha val="10000"/>
                    </a:srgb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69" name="Rectangle 68"/>
                  <p:cNvSpPr/>
                  <p:nvPr/>
                </p:nvSpPr>
                <p:spPr>
                  <a:xfrm>
                    <a:off x="5331451" y="2203482"/>
                    <a:ext cx="521164" cy="499142"/>
                  </a:xfrm>
                  <a:prstGeom prst="rect">
                    <a:avLst/>
                  </a:prstGeom>
                  <a:solidFill>
                    <a:srgbClr val="000000">
                      <a:alpha val="10000"/>
                    </a:srgb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grpSp>
              <p:nvGrpSpPr>
                <p:cNvPr id="63" name="Group 62"/>
                <p:cNvGrpSpPr/>
                <p:nvPr/>
              </p:nvGrpSpPr>
              <p:grpSpPr>
                <a:xfrm>
                  <a:off x="747096" y="1414882"/>
                  <a:ext cx="241128" cy="499142"/>
                  <a:chOff x="5172267" y="964770"/>
                  <a:chExt cx="839532" cy="1737854"/>
                </a:xfrm>
                <a:grpFill/>
              </p:grpSpPr>
              <p:sp>
                <p:nvSpPr>
                  <p:cNvPr id="64" name="Oval 63"/>
                  <p:cNvSpPr/>
                  <p:nvPr/>
                </p:nvSpPr>
                <p:spPr>
                  <a:xfrm>
                    <a:off x="5366326" y="964770"/>
                    <a:ext cx="451418" cy="451417"/>
                  </a:xfrm>
                  <a:prstGeom prst="ellipse">
                    <a:avLst/>
                  </a:prstGeom>
                  <a:solidFill>
                    <a:srgbClr val="000000">
                      <a:alpha val="10000"/>
                    </a:srgb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65" name="Round Same Side Corner Rectangle 64"/>
                  <p:cNvSpPr/>
                  <p:nvPr/>
                </p:nvSpPr>
                <p:spPr>
                  <a:xfrm>
                    <a:off x="5172267" y="1477490"/>
                    <a:ext cx="839532" cy="725992"/>
                  </a:xfrm>
                  <a:prstGeom prst="round2SameRect">
                    <a:avLst>
                      <a:gd name="adj1" fmla="val 50000"/>
                      <a:gd name="adj2" fmla="val 0"/>
                    </a:avLst>
                  </a:prstGeom>
                  <a:solidFill>
                    <a:srgbClr val="000000">
                      <a:alpha val="10000"/>
                    </a:srgb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66" name="Rectangle 65"/>
                  <p:cNvSpPr/>
                  <p:nvPr/>
                </p:nvSpPr>
                <p:spPr>
                  <a:xfrm>
                    <a:off x="5331451" y="2203482"/>
                    <a:ext cx="521164" cy="499142"/>
                  </a:xfrm>
                  <a:prstGeom prst="rect">
                    <a:avLst/>
                  </a:prstGeom>
                  <a:solidFill>
                    <a:srgbClr val="000000">
                      <a:alpha val="10000"/>
                    </a:srgb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</p:grpSp>
          <p:grpSp>
            <p:nvGrpSpPr>
              <p:cNvPr id="46" name="Group 45"/>
              <p:cNvGrpSpPr/>
              <p:nvPr/>
            </p:nvGrpSpPr>
            <p:grpSpPr>
              <a:xfrm>
                <a:off x="285053" y="4917858"/>
                <a:ext cx="859663" cy="499142"/>
                <a:chOff x="285053" y="4917858"/>
                <a:chExt cx="859663" cy="499142"/>
              </a:xfrm>
              <a:grpFill/>
            </p:grpSpPr>
            <p:grpSp>
              <p:nvGrpSpPr>
                <p:cNvPr id="47" name="Group 46"/>
                <p:cNvGrpSpPr/>
                <p:nvPr/>
              </p:nvGrpSpPr>
              <p:grpSpPr>
                <a:xfrm>
                  <a:off x="285053" y="4917858"/>
                  <a:ext cx="241128" cy="499142"/>
                  <a:chOff x="5172267" y="964770"/>
                  <a:chExt cx="839532" cy="1737854"/>
                </a:xfrm>
                <a:grpFill/>
              </p:grpSpPr>
              <p:sp>
                <p:nvSpPr>
                  <p:cNvPr id="56" name="Oval 55"/>
                  <p:cNvSpPr/>
                  <p:nvPr/>
                </p:nvSpPr>
                <p:spPr>
                  <a:xfrm>
                    <a:off x="5366324" y="964770"/>
                    <a:ext cx="451418" cy="451418"/>
                  </a:xfrm>
                  <a:prstGeom prst="ellipse">
                    <a:avLst/>
                  </a:prstGeom>
                  <a:solidFill>
                    <a:srgbClr val="000000">
                      <a:alpha val="10000"/>
                    </a:srgb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7" name="Round Same Side Corner Rectangle 56"/>
                  <p:cNvSpPr/>
                  <p:nvPr/>
                </p:nvSpPr>
                <p:spPr>
                  <a:xfrm>
                    <a:off x="5172267" y="1477490"/>
                    <a:ext cx="839532" cy="725992"/>
                  </a:xfrm>
                  <a:prstGeom prst="round2SameRect">
                    <a:avLst>
                      <a:gd name="adj1" fmla="val 50000"/>
                      <a:gd name="adj2" fmla="val 0"/>
                    </a:avLst>
                  </a:prstGeom>
                  <a:solidFill>
                    <a:srgbClr val="000000">
                      <a:alpha val="10000"/>
                    </a:srgb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8" name="Rectangle 57"/>
                  <p:cNvSpPr/>
                  <p:nvPr/>
                </p:nvSpPr>
                <p:spPr>
                  <a:xfrm>
                    <a:off x="5331451" y="2203482"/>
                    <a:ext cx="521164" cy="499142"/>
                  </a:xfrm>
                  <a:prstGeom prst="rect">
                    <a:avLst/>
                  </a:prstGeom>
                  <a:solidFill>
                    <a:srgbClr val="000000">
                      <a:alpha val="10000"/>
                    </a:srgb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grpSp>
              <p:nvGrpSpPr>
                <p:cNvPr id="48" name="Group 47"/>
                <p:cNvGrpSpPr/>
                <p:nvPr/>
              </p:nvGrpSpPr>
              <p:grpSpPr>
                <a:xfrm>
                  <a:off x="594320" y="4917858"/>
                  <a:ext cx="241128" cy="499142"/>
                  <a:chOff x="5172267" y="964770"/>
                  <a:chExt cx="839532" cy="1737854"/>
                </a:xfrm>
                <a:grpFill/>
              </p:grpSpPr>
              <p:sp>
                <p:nvSpPr>
                  <p:cNvPr id="53" name="Oval 52"/>
                  <p:cNvSpPr/>
                  <p:nvPr/>
                </p:nvSpPr>
                <p:spPr>
                  <a:xfrm>
                    <a:off x="5366324" y="964770"/>
                    <a:ext cx="451418" cy="451418"/>
                  </a:xfrm>
                  <a:prstGeom prst="ellipse">
                    <a:avLst/>
                  </a:prstGeom>
                  <a:solidFill>
                    <a:srgbClr val="000000">
                      <a:alpha val="10000"/>
                    </a:srgb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4" name="Round Same Side Corner Rectangle 53"/>
                  <p:cNvSpPr/>
                  <p:nvPr/>
                </p:nvSpPr>
                <p:spPr>
                  <a:xfrm>
                    <a:off x="5172267" y="1477490"/>
                    <a:ext cx="839532" cy="725992"/>
                  </a:xfrm>
                  <a:prstGeom prst="round2SameRect">
                    <a:avLst>
                      <a:gd name="adj1" fmla="val 50000"/>
                      <a:gd name="adj2" fmla="val 0"/>
                    </a:avLst>
                  </a:prstGeom>
                  <a:solidFill>
                    <a:srgbClr val="000000">
                      <a:alpha val="10000"/>
                    </a:srgb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5" name="Rectangle 54"/>
                  <p:cNvSpPr/>
                  <p:nvPr/>
                </p:nvSpPr>
                <p:spPr>
                  <a:xfrm>
                    <a:off x="5331451" y="2203482"/>
                    <a:ext cx="521164" cy="499142"/>
                  </a:xfrm>
                  <a:prstGeom prst="rect">
                    <a:avLst/>
                  </a:prstGeom>
                  <a:solidFill>
                    <a:srgbClr val="000000">
                      <a:alpha val="10000"/>
                    </a:srgb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grpSp>
              <p:nvGrpSpPr>
                <p:cNvPr id="49" name="Group 48"/>
                <p:cNvGrpSpPr/>
                <p:nvPr/>
              </p:nvGrpSpPr>
              <p:grpSpPr>
                <a:xfrm>
                  <a:off x="903588" y="4917858"/>
                  <a:ext cx="241128" cy="499142"/>
                  <a:chOff x="5172267" y="964770"/>
                  <a:chExt cx="839532" cy="1737854"/>
                </a:xfrm>
                <a:grpFill/>
              </p:grpSpPr>
              <p:sp>
                <p:nvSpPr>
                  <p:cNvPr id="50" name="Oval 49"/>
                  <p:cNvSpPr/>
                  <p:nvPr/>
                </p:nvSpPr>
                <p:spPr>
                  <a:xfrm>
                    <a:off x="5366324" y="964770"/>
                    <a:ext cx="451418" cy="451418"/>
                  </a:xfrm>
                  <a:prstGeom prst="ellipse">
                    <a:avLst/>
                  </a:prstGeom>
                  <a:solidFill>
                    <a:srgbClr val="000000">
                      <a:alpha val="10000"/>
                    </a:srgb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1" name="Round Same Side Corner Rectangle 50"/>
                  <p:cNvSpPr/>
                  <p:nvPr/>
                </p:nvSpPr>
                <p:spPr>
                  <a:xfrm>
                    <a:off x="5172267" y="1477490"/>
                    <a:ext cx="839532" cy="725992"/>
                  </a:xfrm>
                  <a:prstGeom prst="round2SameRect">
                    <a:avLst>
                      <a:gd name="adj1" fmla="val 50000"/>
                      <a:gd name="adj2" fmla="val 0"/>
                    </a:avLst>
                  </a:prstGeom>
                  <a:solidFill>
                    <a:srgbClr val="000000">
                      <a:alpha val="10000"/>
                    </a:srgb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2" name="Rectangle 51"/>
                  <p:cNvSpPr/>
                  <p:nvPr/>
                </p:nvSpPr>
                <p:spPr>
                  <a:xfrm>
                    <a:off x="5331451" y="2203482"/>
                    <a:ext cx="521164" cy="499142"/>
                  </a:xfrm>
                  <a:prstGeom prst="rect">
                    <a:avLst/>
                  </a:prstGeom>
                  <a:solidFill>
                    <a:srgbClr val="000000">
                      <a:alpha val="10000"/>
                    </a:srgb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</p:grpSp>
        </p:grpSp>
      </p:grpSp>
      <p:grpSp>
        <p:nvGrpSpPr>
          <p:cNvPr id="139" name="Group 138"/>
          <p:cNvGrpSpPr/>
          <p:nvPr/>
        </p:nvGrpSpPr>
        <p:grpSpPr>
          <a:xfrm>
            <a:off x="4914570" y="1458075"/>
            <a:ext cx="1355713" cy="1261469"/>
            <a:chOff x="5143236" y="810866"/>
            <a:chExt cx="1355713" cy="1261469"/>
          </a:xfrm>
        </p:grpSpPr>
        <p:sp>
          <p:nvSpPr>
            <p:cNvPr id="141" name="Rounded Rectangle 140"/>
            <p:cNvSpPr/>
            <p:nvPr/>
          </p:nvSpPr>
          <p:spPr>
            <a:xfrm>
              <a:off x="5143236" y="810866"/>
              <a:ext cx="1355713" cy="1261469"/>
            </a:xfrm>
            <a:prstGeom prst="roundRect">
              <a:avLst>
                <a:gd name="adj" fmla="val 6036"/>
              </a:avLst>
            </a:prstGeom>
            <a:solidFill>
              <a:srgbClr val="FFFFFF"/>
            </a:solidFill>
            <a:ln>
              <a:solidFill>
                <a:srgbClr val="4E80B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183860"/>
                </a:solidFill>
                <a:latin typeface="Segoe"/>
              </a:endParaRPr>
            </a:p>
          </p:txBody>
        </p:sp>
        <p:pic>
          <p:nvPicPr>
            <p:cNvPr id="140" name="Picture 139" descr="bing.png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12647" y="1275479"/>
              <a:ext cx="816891" cy="332243"/>
            </a:xfrm>
            <a:prstGeom prst="rect">
              <a:avLst/>
            </a:prstGeom>
          </p:spPr>
        </p:pic>
      </p:grpSp>
      <p:pic>
        <p:nvPicPr>
          <p:cNvPr id="142" name="Picture 141" descr="Google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2746" y="4014767"/>
            <a:ext cx="1193800" cy="416442"/>
          </a:xfrm>
          <a:prstGeom prst="rect">
            <a:avLst/>
          </a:prstGeom>
        </p:spPr>
      </p:pic>
      <p:cxnSp>
        <p:nvCxnSpPr>
          <p:cNvPr id="143" name="Straight Arrow Connector 142"/>
          <p:cNvCxnSpPr/>
          <p:nvPr/>
        </p:nvCxnSpPr>
        <p:spPr>
          <a:xfrm flipH="1" flipV="1">
            <a:off x="6347166" y="2174640"/>
            <a:ext cx="1151469" cy="1021757"/>
          </a:xfrm>
          <a:prstGeom prst="straightConnector1">
            <a:avLst/>
          </a:prstGeom>
          <a:ln w="38100" cap="rnd">
            <a:prstDash val="solid"/>
            <a:round/>
            <a:headEnd type="none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Arrow Connector 143"/>
          <p:cNvCxnSpPr/>
          <p:nvPr/>
        </p:nvCxnSpPr>
        <p:spPr>
          <a:xfrm flipH="1">
            <a:off x="6347167" y="3197597"/>
            <a:ext cx="1151468" cy="812016"/>
          </a:xfrm>
          <a:prstGeom prst="straightConnector1">
            <a:avLst/>
          </a:prstGeom>
          <a:ln w="38100" cap="rnd">
            <a:prstDash val="solid"/>
            <a:round/>
            <a:headEnd type="none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45" name="Group 144"/>
          <p:cNvGrpSpPr/>
          <p:nvPr/>
        </p:nvGrpSpPr>
        <p:grpSpPr>
          <a:xfrm>
            <a:off x="6935465" y="2301369"/>
            <a:ext cx="227196" cy="1663813"/>
            <a:chOff x="6935465" y="2301369"/>
            <a:chExt cx="227196" cy="1663813"/>
          </a:xfrm>
        </p:grpSpPr>
        <p:pic>
          <p:nvPicPr>
            <p:cNvPr id="146" name="Picture 145" descr="money.png"/>
            <p:cNvPicPr>
              <a:picLocks noChangeAspect="1"/>
            </p:cNvPicPr>
            <p:nvPr/>
          </p:nvPicPr>
          <p:blipFill>
            <a:blip r:embed="rId9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35465" y="2301369"/>
              <a:ext cx="227196" cy="365760"/>
            </a:xfrm>
            <a:prstGeom prst="rect">
              <a:avLst/>
            </a:prstGeom>
          </p:spPr>
        </p:pic>
        <p:pic>
          <p:nvPicPr>
            <p:cNvPr id="147" name="Picture 146" descr="money.png"/>
            <p:cNvPicPr>
              <a:picLocks noChangeAspect="1"/>
            </p:cNvPicPr>
            <p:nvPr/>
          </p:nvPicPr>
          <p:blipFill>
            <a:blip r:embed="rId9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35465" y="3599422"/>
              <a:ext cx="227196" cy="365760"/>
            </a:xfrm>
            <a:prstGeom prst="rect">
              <a:avLst/>
            </a:prstGeom>
          </p:spPr>
        </p:pic>
      </p:grpSp>
      <p:grpSp>
        <p:nvGrpSpPr>
          <p:cNvPr id="148" name="Group 147"/>
          <p:cNvGrpSpPr/>
          <p:nvPr/>
        </p:nvGrpSpPr>
        <p:grpSpPr>
          <a:xfrm>
            <a:off x="7571850" y="2470704"/>
            <a:ext cx="1235406" cy="1371600"/>
            <a:chOff x="7682719" y="2428071"/>
            <a:chExt cx="1235406" cy="1371600"/>
          </a:xfrm>
        </p:grpSpPr>
        <p:sp>
          <p:nvSpPr>
            <p:cNvPr id="149" name="Rounded Rectangle 148"/>
            <p:cNvSpPr/>
            <p:nvPr/>
          </p:nvSpPr>
          <p:spPr>
            <a:xfrm>
              <a:off x="7682719" y="2428071"/>
              <a:ext cx="1235406" cy="1371600"/>
            </a:xfrm>
            <a:prstGeom prst="roundRect">
              <a:avLst>
                <a:gd name="adj" fmla="val 6036"/>
              </a:avLst>
            </a:prstGeom>
            <a:solidFill>
              <a:srgbClr val="FFFFFF"/>
            </a:solidFill>
            <a:ln>
              <a:solidFill>
                <a:srgbClr val="4E80B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dirty="0" smtClean="0">
                  <a:solidFill>
                    <a:srgbClr val="183860"/>
                  </a:solidFill>
                  <a:latin typeface="Segoe"/>
                </a:rPr>
                <a:t>Advertisers</a:t>
              </a:r>
              <a:endParaRPr lang="en-US" dirty="0">
                <a:solidFill>
                  <a:srgbClr val="183860"/>
                </a:solidFill>
                <a:latin typeface="Segoe"/>
              </a:endParaRPr>
            </a:p>
          </p:txBody>
        </p:sp>
        <p:grpSp>
          <p:nvGrpSpPr>
            <p:cNvPr id="150" name="Group 149"/>
            <p:cNvGrpSpPr/>
            <p:nvPr/>
          </p:nvGrpSpPr>
          <p:grpSpPr>
            <a:xfrm>
              <a:off x="7843982" y="2562294"/>
              <a:ext cx="923450" cy="365760"/>
              <a:chOff x="7843982" y="2562294"/>
              <a:chExt cx="923450" cy="365760"/>
            </a:xfrm>
          </p:grpSpPr>
          <p:pic>
            <p:nvPicPr>
              <p:cNvPr id="155" name="Picture 154" descr="money.png"/>
              <p:cNvPicPr>
                <a:picLocks noChangeAspect="1"/>
              </p:cNvPicPr>
              <p:nvPr/>
            </p:nvPicPr>
            <p:blipFill>
              <a:blip r:embed="rId9" cstate="print">
                <a:alphaModFix amt="2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843982" y="2562294"/>
                <a:ext cx="227196" cy="365760"/>
              </a:xfrm>
              <a:prstGeom prst="rect">
                <a:avLst/>
              </a:prstGeom>
            </p:spPr>
          </p:pic>
          <p:pic>
            <p:nvPicPr>
              <p:cNvPr id="156" name="Picture 155" descr="money.png"/>
              <p:cNvPicPr>
                <a:picLocks noChangeAspect="1"/>
              </p:cNvPicPr>
              <p:nvPr/>
            </p:nvPicPr>
            <p:blipFill>
              <a:blip r:embed="rId9" cstate="print">
                <a:alphaModFix amt="2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540236" y="2562294"/>
                <a:ext cx="227196" cy="365760"/>
              </a:xfrm>
              <a:prstGeom prst="rect">
                <a:avLst/>
              </a:prstGeom>
            </p:spPr>
          </p:pic>
          <p:pic>
            <p:nvPicPr>
              <p:cNvPr id="157" name="Picture 156" descr="money.png"/>
              <p:cNvPicPr>
                <a:picLocks noChangeAspect="1"/>
              </p:cNvPicPr>
              <p:nvPr/>
            </p:nvPicPr>
            <p:blipFill>
              <a:blip r:embed="rId9" cstate="print">
                <a:alphaModFix amt="2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192109" y="2562294"/>
                <a:ext cx="227196" cy="365760"/>
              </a:xfrm>
              <a:prstGeom prst="rect">
                <a:avLst/>
              </a:prstGeom>
            </p:spPr>
          </p:pic>
        </p:grpSp>
        <p:grpSp>
          <p:nvGrpSpPr>
            <p:cNvPr id="151" name="Group 150"/>
            <p:cNvGrpSpPr/>
            <p:nvPr/>
          </p:nvGrpSpPr>
          <p:grpSpPr>
            <a:xfrm>
              <a:off x="7843982" y="3344495"/>
              <a:ext cx="923450" cy="365760"/>
              <a:chOff x="7843982" y="2562294"/>
              <a:chExt cx="923450" cy="365760"/>
            </a:xfrm>
          </p:grpSpPr>
          <p:pic>
            <p:nvPicPr>
              <p:cNvPr id="152" name="Picture 151" descr="money.png"/>
              <p:cNvPicPr>
                <a:picLocks noChangeAspect="1"/>
              </p:cNvPicPr>
              <p:nvPr/>
            </p:nvPicPr>
            <p:blipFill>
              <a:blip r:embed="rId9" cstate="print">
                <a:alphaModFix amt="2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843982" y="2562294"/>
                <a:ext cx="227196" cy="365760"/>
              </a:xfrm>
              <a:prstGeom prst="rect">
                <a:avLst/>
              </a:prstGeom>
            </p:spPr>
          </p:pic>
          <p:pic>
            <p:nvPicPr>
              <p:cNvPr id="153" name="Picture 152" descr="money.png"/>
              <p:cNvPicPr>
                <a:picLocks noChangeAspect="1"/>
              </p:cNvPicPr>
              <p:nvPr/>
            </p:nvPicPr>
            <p:blipFill>
              <a:blip r:embed="rId9" cstate="print">
                <a:alphaModFix amt="2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540236" y="2562294"/>
                <a:ext cx="227196" cy="365760"/>
              </a:xfrm>
              <a:prstGeom prst="rect">
                <a:avLst/>
              </a:prstGeom>
            </p:spPr>
          </p:pic>
          <p:pic>
            <p:nvPicPr>
              <p:cNvPr id="154" name="Picture 153" descr="money.png"/>
              <p:cNvPicPr>
                <a:picLocks noChangeAspect="1"/>
              </p:cNvPicPr>
              <p:nvPr/>
            </p:nvPicPr>
            <p:blipFill>
              <a:blip r:embed="rId9" cstate="print">
                <a:alphaModFix amt="2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192109" y="2562294"/>
                <a:ext cx="227196" cy="365760"/>
              </a:xfrm>
              <a:prstGeom prst="rect">
                <a:avLst/>
              </a:prstGeom>
            </p:spPr>
          </p:pic>
        </p:grpSp>
      </p:grpSp>
      <p:pic>
        <p:nvPicPr>
          <p:cNvPr id="158" name="Picture 157" descr="money.png"/>
          <p:cNvPicPr>
            <a:picLocks noChangeAspect="1"/>
          </p:cNvPicPr>
          <p:nvPr/>
        </p:nvPicPr>
        <p:blipFill>
          <a:blip r:embed="rId9" cstate="print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0366" y="3841005"/>
            <a:ext cx="227196" cy="365760"/>
          </a:xfrm>
          <a:prstGeom prst="rect">
            <a:avLst/>
          </a:prstGeom>
        </p:spPr>
      </p:pic>
      <p:pic>
        <p:nvPicPr>
          <p:cNvPr id="159" name="Picture 158" descr="money.png"/>
          <p:cNvPicPr>
            <a:picLocks noChangeAspect="1"/>
          </p:cNvPicPr>
          <p:nvPr/>
        </p:nvPicPr>
        <p:blipFill>
          <a:blip r:embed="rId9" cstate="print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5970" y="3401463"/>
            <a:ext cx="227196" cy="365760"/>
          </a:xfrm>
          <a:prstGeom prst="rect">
            <a:avLst/>
          </a:prstGeom>
        </p:spPr>
      </p:pic>
      <p:cxnSp>
        <p:nvCxnSpPr>
          <p:cNvPr id="160" name="Straight Arrow Connector 159"/>
          <p:cNvCxnSpPr/>
          <p:nvPr/>
        </p:nvCxnSpPr>
        <p:spPr>
          <a:xfrm flipH="1">
            <a:off x="6347167" y="3751588"/>
            <a:ext cx="1151468" cy="812016"/>
          </a:xfrm>
          <a:prstGeom prst="straightConnector1">
            <a:avLst/>
          </a:prstGeom>
          <a:ln w="38100" cap="rnd">
            <a:prstDash val="solid"/>
            <a:round/>
            <a:headEnd type="none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61" name="Picture 160" descr="money.png"/>
          <p:cNvPicPr>
            <a:picLocks noChangeAspect="1"/>
          </p:cNvPicPr>
          <p:nvPr/>
        </p:nvPicPr>
        <p:blipFill>
          <a:blip r:embed="rId9" cstate="print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7006" y="4037207"/>
            <a:ext cx="227196" cy="365760"/>
          </a:xfrm>
          <a:prstGeom prst="rect">
            <a:avLst/>
          </a:prstGeom>
        </p:spPr>
      </p:pic>
      <p:pic>
        <p:nvPicPr>
          <p:cNvPr id="162" name="Picture 161" descr="smiles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7647" y="1500137"/>
            <a:ext cx="269823" cy="274320"/>
          </a:xfrm>
          <a:prstGeom prst="rect">
            <a:avLst/>
          </a:prstGeom>
        </p:spPr>
      </p:pic>
      <p:grpSp>
        <p:nvGrpSpPr>
          <p:cNvPr id="163" name="Group 162"/>
          <p:cNvGrpSpPr/>
          <p:nvPr/>
        </p:nvGrpSpPr>
        <p:grpSpPr>
          <a:xfrm>
            <a:off x="4698586" y="3286749"/>
            <a:ext cx="1784880" cy="274320"/>
            <a:chOff x="4698586" y="3307069"/>
            <a:chExt cx="1784880" cy="274320"/>
          </a:xfrm>
        </p:grpSpPr>
        <p:pic>
          <p:nvPicPr>
            <p:cNvPr id="164" name="Picture 163" descr="smiles.png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65960" y="3307069"/>
              <a:ext cx="269823" cy="274320"/>
            </a:xfrm>
            <a:prstGeom prst="rect">
              <a:avLst/>
            </a:prstGeom>
          </p:spPr>
        </p:pic>
        <p:pic>
          <p:nvPicPr>
            <p:cNvPr id="165" name="Picture 164" descr="smiles.png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49069" y="3307069"/>
              <a:ext cx="269823" cy="274320"/>
            </a:xfrm>
            <a:prstGeom prst="rect">
              <a:avLst/>
            </a:prstGeom>
          </p:spPr>
        </p:pic>
        <p:pic>
          <p:nvPicPr>
            <p:cNvPr id="166" name="Picture 165" descr="smiles.png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98586" y="3307069"/>
              <a:ext cx="269823" cy="274320"/>
            </a:xfrm>
            <a:prstGeom prst="rect">
              <a:avLst/>
            </a:prstGeom>
          </p:spPr>
        </p:pic>
        <p:pic>
          <p:nvPicPr>
            <p:cNvPr id="167" name="Picture 166" descr="smiles.png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13643" y="3307069"/>
              <a:ext cx="269823" cy="274320"/>
            </a:xfrm>
            <a:prstGeom prst="rect">
              <a:avLst/>
            </a:prstGeom>
          </p:spPr>
        </p:pic>
      </p:grpSp>
      <p:cxnSp>
        <p:nvCxnSpPr>
          <p:cNvPr id="168" name="Straight Arrow Connector 167"/>
          <p:cNvCxnSpPr/>
          <p:nvPr/>
        </p:nvCxnSpPr>
        <p:spPr>
          <a:xfrm flipH="1">
            <a:off x="3510091" y="4819952"/>
            <a:ext cx="1206712" cy="0"/>
          </a:xfrm>
          <a:prstGeom prst="straightConnector1">
            <a:avLst/>
          </a:prstGeom>
          <a:ln w="38100" cap="rnd">
            <a:prstDash val="solid"/>
            <a:round/>
            <a:headEnd type="none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0" name="Straight Arrow Connector 169"/>
          <p:cNvCxnSpPr/>
          <p:nvPr/>
        </p:nvCxnSpPr>
        <p:spPr>
          <a:xfrm flipH="1">
            <a:off x="6354289" y="4295163"/>
            <a:ext cx="1151468" cy="812016"/>
          </a:xfrm>
          <a:prstGeom prst="straightConnector1">
            <a:avLst/>
          </a:prstGeom>
          <a:ln w="38100" cap="rnd">
            <a:prstDash val="solid"/>
            <a:round/>
            <a:headEnd type="none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71" name="Group 170"/>
          <p:cNvGrpSpPr/>
          <p:nvPr/>
        </p:nvGrpSpPr>
        <p:grpSpPr>
          <a:xfrm>
            <a:off x="6344128" y="3936571"/>
            <a:ext cx="1136160" cy="1001504"/>
            <a:chOff x="7412403" y="5010585"/>
            <a:chExt cx="1136160" cy="1001504"/>
          </a:xfrm>
        </p:grpSpPr>
        <p:pic>
          <p:nvPicPr>
            <p:cNvPr id="172" name="Picture 171" descr="money.png"/>
            <p:cNvPicPr>
              <a:picLocks noChangeAspect="1"/>
            </p:cNvPicPr>
            <p:nvPr/>
          </p:nvPicPr>
          <p:blipFill>
            <a:blip r:embed="rId9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10862" y="5208544"/>
              <a:ext cx="227196" cy="365760"/>
            </a:xfrm>
            <a:prstGeom prst="rect">
              <a:avLst/>
            </a:prstGeom>
          </p:spPr>
        </p:pic>
        <p:pic>
          <p:nvPicPr>
            <p:cNvPr id="173" name="Picture 172" descr="money.png"/>
            <p:cNvPicPr>
              <a:picLocks noChangeAspect="1"/>
            </p:cNvPicPr>
            <p:nvPr/>
          </p:nvPicPr>
          <p:blipFill>
            <a:blip r:embed="rId9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95763" y="5450127"/>
              <a:ext cx="227196" cy="365760"/>
            </a:xfrm>
            <a:prstGeom prst="rect">
              <a:avLst/>
            </a:prstGeom>
          </p:spPr>
        </p:pic>
        <p:pic>
          <p:nvPicPr>
            <p:cNvPr id="174" name="Picture 173" descr="money.png"/>
            <p:cNvPicPr>
              <a:picLocks noChangeAspect="1"/>
            </p:cNvPicPr>
            <p:nvPr/>
          </p:nvPicPr>
          <p:blipFill>
            <a:blip r:embed="rId9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21367" y="5010585"/>
              <a:ext cx="227196" cy="365760"/>
            </a:xfrm>
            <a:prstGeom prst="rect">
              <a:avLst/>
            </a:prstGeom>
          </p:spPr>
        </p:pic>
        <p:pic>
          <p:nvPicPr>
            <p:cNvPr id="175" name="Picture 174" descr="money.png"/>
            <p:cNvPicPr>
              <a:picLocks noChangeAspect="1"/>
            </p:cNvPicPr>
            <p:nvPr/>
          </p:nvPicPr>
          <p:blipFill>
            <a:blip r:embed="rId9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12403" y="5646329"/>
              <a:ext cx="227196" cy="365760"/>
            </a:xfrm>
            <a:prstGeom prst="rect">
              <a:avLst/>
            </a:prstGeom>
          </p:spPr>
        </p:pic>
      </p:grpSp>
      <p:pic>
        <p:nvPicPr>
          <p:cNvPr id="177" name="Picture 176" descr="youtube.png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8327" y="5093470"/>
            <a:ext cx="636958" cy="259314"/>
          </a:xfrm>
          <a:prstGeom prst="rect">
            <a:avLst/>
          </a:prstGeom>
        </p:spPr>
      </p:pic>
      <p:cxnSp>
        <p:nvCxnSpPr>
          <p:cNvPr id="179" name="Straight Arrow Connector 178"/>
          <p:cNvCxnSpPr/>
          <p:nvPr/>
        </p:nvCxnSpPr>
        <p:spPr>
          <a:xfrm flipV="1">
            <a:off x="3349322" y="5107179"/>
            <a:ext cx="1284486" cy="108015"/>
          </a:xfrm>
          <a:prstGeom prst="straightConnector1">
            <a:avLst/>
          </a:prstGeom>
          <a:ln w="38100" cap="rnd" cmpd="dbl">
            <a:round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80" name="Picture 179" descr="youtube.png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6039" y="4925398"/>
            <a:ext cx="636958" cy="259314"/>
          </a:xfrm>
          <a:prstGeom prst="rect">
            <a:avLst/>
          </a:prstGeom>
        </p:spPr>
      </p:pic>
      <p:grpSp>
        <p:nvGrpSpPr>
          <p:cNvPr id="181" name="Group 180"/>
          <p:cNvGrpSpPr/>
          <p:nvPr/>
        </p:nvGrpSpPr>
        <p:grpSpPr>
          <a:xfrm>
            <a:off x="7343195" y="5479622"/>
            <a:ext cx="777028" cy="779066"/>
            <a:chOff x="6989370" y="5772303"/>
            <a:chExt cx="777028" cy="779066"/>
          </a:xfrm>
        </p:grpSpPr>
        <p:sp>
          <p:nvSpPr>
            <p:cNvPr id="182" name="Rounded Rectangle 181"/>
            <p:cNvSpPr/>
            <p:nvPr/>
          </p:nvSpPr>
          <p:spPr>
            <a:xfrm>
              <a:off x="6989370" y="5772303"/>
              <a:ext cx="777028" cy="779066"/>
            </a:xfrm>
            <a:prstGeom prst="roundRect">
              <a:avLst>
                <a:gd name="adj" fmla="val 6036"/>
              </a:avLst>
            </a:prstGeom>
            <a:solidFill>
              <a:srgbClr val="FFFFFF"/>
            </a:solidFill>
            <a:ln>
              <a:solidFill>
                <a:srgbClr val="4E80B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dirty="0" smtClean="0">
                  <a:solidFill>
                    <a:srgbClr val="183860"/>
                  </a:solidFill>
                  <a:latin typeface="Segoe"/>
                </a:rPr>
                <a:t>Travel</a:t>
              </a:r>
              <a:endParaRPr lang="en-US" dirty="0">
                <a:solidFill>
                  <a:srgbClr val="183860"/>
                </a:solidFill>
                <a:latin typeface="Segoe"/>
              </a:endParaRPr>
            </a:p>
          </p:txBody>
        </p:sp>
        <p:pic>
          <p:nvPicPr>
            <p:cNvPr id="183" name="Picture 182" descr="airplane_4.gif"/>
            <p:cNvPicPr>
              <a:picLocks noChangeAspect="1"/>
            </p:cNvPicPr>
            <p:nvPr/>
          </p:nvPicPr>
          <p:blipFill>
            <a:blip r:embed="rId11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6200000">
              <a:off x="7050991" y="5836607"/>
              <a:ext cx="653803" cy="653803"/>
            </a:xfrm>
            <a:prstGeom prst="rect">
              <a:avLst/>
            </a:prstGeom>
          </p:spPr>
        </p:pic>
      </p:grpSp>
      <p:cxnSp>
        <p:nvCxnSpPr>
          <p:cNvPr id="184" name="Straight Arrow Connector 183"/>
          <p:cNvCxnSpPr/>
          <p:nvPr/>
        </p:nvCxnSpPr>
        <p:spPr>
          <a:xfrm flipH="1" flipV="1">
            <a:off x="6451514" y="5326786"/>
            <a:ext cx="891681" cy="434278"/>
          </a:xfrm>
          <a:prstGeom prst="straightConnector1">
            <a:avLst/>
          </a:prstGeom>
          <a:ln w="38100" cmpd="dbl"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5" name="Straight Arrow Connector 184"/>
          <p:cNvCxnSpPr>
            <a:stCxn id="182" idx="0"/>
          </p:cNvCxnSpPr>
          <p:nvPr/>
        </p:nvCxnSpPr>
        <p:spPr>
          <a:xfrm flipH="1" flipV="1">
            <a:off x="6347169" y="2505766"/>
            <a:ext cx="1384540" cy="2973856"/>
          </a:xfrm>
          <a:prstGeom prst="straightConnector1">
            <a:avLst/>
          </a:prstGeom>
          <a:ln w="38100" cmpd="dbl"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Arrow Connector 185"/>
          <p:cNvCxnSpPr/>
          <p:nvPr/>
        </p:nvCxnSpPr>
        <p:spPr>
          <a:xfrm>
            <a:off x="6652888" y="5194871"/>
            <a:ext cx="640080" cy="320040"/>
          </a:xfrm>
          <a:prstGeom prst="straightConnector1">
            <a:avLst/>
          </a:prstGeom>
          <a:ln w="38100" cmpd="dbl"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87" name="Group 186"/>
          <p:cNvGrpSpPr/>
          <p:nvPr/>
        </p:nvGrpSpPr>
        <p:grpSpPr>
          <a:xfrm>
            <a:off x="6100294" y="5291286"/>
            <a:ext cx="251192" cy="182880"/>
            <a:chOff x="4829269" y="5384491"/>
            <a:chExt cx="251192" cy="228600"/>
          </a:xfrm>
        </p:grpSpPr>
        <p:cxnSp>
          <p:nvCxnSpPr>
            <p:cNvPr id="188" name="Straight Arrow Connector 187"/>
            <p:cNvCxnSpPr/>
            <p:nvPr/>
          </p:nvCxnSpPr>
          <p:spPr>
            <a:xfrm>
              <a:off x="5080461" y="5384491"/>
              <a:ext cx="0" cy="228600"/>
            </a:xfrm>
            <a:prstGeom prst="straightConnector1">
              <a:avLst/>
            </a:prstGeom>
            <a:ln w="38100" cmpd="dbl"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9" name="Straight Arrow Connector 188"/>
            <p:cNvCxnSpPr/>
            <p:nvPr/>
          </p:nvCxnSpPr>
          <p:spPr>
            <a:xfrm flipV="1">
              <a:off x="4829269" y="5384491"/>
              <a:ext cx="1" cy="228600"/>
            </a:xfrm>
            <a:prstGeom prst="straightConnector1">
              <a:avLst/>
            </a:prstGeom>
            <a:ln w="38100" cmpd="dbl"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0" name="Group 189"/>
          <p:cNvGrpSpPr/>
          <p:nvPr/>
        </p:nvGrpSpPr>
        <p:grpSpPr>
          <a:xfrm>
            <a:off x="1513784" y="2074995"/>
            <a:ext cx="3293809" cy="2016058"/>
            <a:chOff x="1513784" y="2156275"/>
            <a:chExt cx="3293809" cy="2016058"/>
          </a:xfrm>
        </p:grpSpPr>
        <p:cxnSp>
          <p:nvCxnSpPr>
            <p:cNvPr id="191" name="Straight Arrow Connector 190"/>
            <p:cNvCxnSpPr/>
            <p:nvPr/>
          </p:nvCxnSpPr>
          <p:spPr>
            <a:xfrm>
              <a:off x="1514260" y="2156275"/>
              <a:ext cx="3293333" cy="0"/>
            </a:xfrm>
            <a:prstGeom prst="straightConnector1">
              <a:avLst/>
            </a:prstGeom>
            <a:ln w="38100" cap="rnd" cmpd="dbl">
              <a:round/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2" name="Straight Arrow Connector 191"/>
            <p:cNvCxnSpPr/>
            <p:nvPr/>
          </p:nvCxnSpPr>
          <p:spPr>
            <a:xfrm>
              <a:off x="1513784" y="4172333"/>
              <a:ext cx="3293809" cy="0"/>
            </a:xfrm>
            <a:prstGeom prst="straightConnector1">
              <a:avLst/>
            </a:prstGeom>
            <a:ln w="38100" cap="rnd" cmpd="dbl">
              <a:round/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93" name="Straight Arrow Connector 192"/>
          <p:cNvCxnSpPr/>
          <p:nvPr/>
        </p:nvCxnSpPr>
        <p:spPr>
          <a:xfrm>
            <a:off x="1513784" y="4487873"/>
            <a:ext cx="3293809" cy="0"/>
          </a:xfrm>
          <a:prstGeom prst="straightConnector1">
            <a:avLst/>
          </a:prstGeom>
          <a:ln w="38100" cap="rnd" cmpd="dbl">
            <a:round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4" name="Straight Arrow Connector 193"/>
          <p:cNvCxnSpPr/>
          <p:nvPr/>
        </p:nvCxnSpPr>
        <p:spPr>
          <a:xfrm>
            <a:off x="1513784" y="4286989"/>
            <a:ext cx="3293809" cy="0"/>
          </a:xfrm>
          <a:prstGeom prst="straightConnector1">
            <a:avLst/>
          </a:prstGeom>
          <a:ln w="38100" cap="rnd" cmpd="dbl">
            <a:round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95" name="Group 194"/>
          <p:cNvGrpSpPr/>
          <p:nvPr/>
        </p:nvGrpSpPr>
        <p:grpSpPr>
          <a:xfrm>
            <a:off x="3796498" y="4536285"/>
            <a:ext cx="563229" cy="265014"/>
            <a:chOff x="3745698" y="4566765"/>
            <a:chExt cx="777342" cy="365760"/>
          </a:xfrm>
        </p:grpSpPr>
        <p:pic>
          <p:nvPicPr>
            <p:cNvPr id="196" name="Picture 195" descr="money.png"/>
            <p:cNvPicPr>
              <a:picLocks noChangeAspect="1"/>
            </p:cNvPicPr>
            <p:nvPr/>
          </p:nvPicPr>
          <p:blipFill>
            <a:blip r:embed="rId12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45698" y="4566765"/>
              <a:ext cx="227196" cy="365760"/>
            </a:xfrm>
            <a:prstGeom prst="rect">
              <a:avLst/>
            </a:prstGeom>
          </p:spPr>
        </p:pic>
        <p:pic>
          <p:nvPicPr>
            <p:cNvPr id="197" name="Picture 196" descr="money.png"/>
            <p:cNvPicPr>
              <a:picLocks noChangeAspect="1"/>
            </p:cNvPicPr>
            <p:nvPr/>
          </p:nvPicPr>
          <p:blipFill>
            <a:blip r:embed="rId12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20771" y="4566765"/>
              <a:ext cx="227196" cy="365760"/>
            </a:xfrm>
            <a:prstGeom prst="rect">
              <a:avLst/>
            </a:prstGeom>
          </p:spPr>
        </p:pic>
        <p:pic>
          <p:nvPicPr>
            <p:cNvPr id="198" name="Picture 197" descr="money.png"/>
            <p:cNvPicPr>
              <a:picLocks noChangeAspect="1"/>
            </p:cNvPicPr>
            <p:nvPr/>
          </p:nvPicPr>
          <p:blipFill>
            <a:blip r:embed="rId12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95844" y="4566765"/>
              <a:ext cx="227196" cy="365760"/>
            </a:xfrm>
            <a:prstGeom prst="rect">
              <a:avLst/>
            </a:prstGeom>
          </p:spPr>
        </p:pic>
      </p:grpSp>
      <p:sp>
        <p:nvSpPr>
          <p:cNvPr id="200" name="Rounded Rectangle 199"/>
          <p:cNvSpPr/>
          <p:nvPr/>
        </p:nvSpPr>
        <p:spPr>
          <a:xfrm>
            <a:off x="139890" y="234334"/>
            <a:ext cx="8765350" cy="141586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egoe"/>
              <a:cs typeface="Segoe"/>
            </a:endParaRPr>
          </a:p>
        </p:txBody>
      </p:sp>
      <p:grpSp>
        <p:nvGrpSpPr>
          <p:cNvPr id="209" name="Group 208"/>
          <p:cNvGrpSpPr/>
          <p:nvPr/>
        </p:nvGrpSpPr>
        <p:grpSpPr>
          <a:xfrm>
            <a:off x="5049069" y="1496913"/>
            <a:ext cx="1086714" cy="274320"/>
            <a:chOff x="5049069" y="873760"/>
            <a:chExt cx="1086714" cy="274320"/>
          </a:xfrm>
        </p:grpSpPr>
        <p:pic>
          <p:nvPicPr>
            <p:cNvPr id="205" name="Picture 204" descr="smiles.png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65960" y="873760"/>
              <a:ext cx="269823" cy="274320"/>
            </a:xfrm>
            <a:prstGeom prst="rect">
              <a:avLst/>
            </a:prstGeom>
          </p:spPr>
        </p:pic>
        <p:pic>
          <p:nvPicPr>
            <p:cNvPr id="206" name="Picture 205" descr="smiles.png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49069" y="873760"/>
              <a:ext cx="269823" cy="274320"/>
            </a:xfrm>
            <a:prstGeom prst="rect">
              <a:avLst/>
            </a:prstGeom>
          </p:spPr>
        </p:pic>
      </p:grpSp>
      <p:sp>
        <p:nvSpPr>
          <p:cNvPr id="204" name="Title 1"/>
          <p:cNvSpPr>
            <a:spLocks noGrp="1"/>
          </p:cNvSpPr>
          <p:nvPr>
            <p:ph type="title"/>
          </p:nvPr>
        </p:nvSpPr>
        <p:spPr>
          <a:xfrm>
            <a:off x="466394" y="375920"/>
            <a:ext cx="8229600" cy="386080"/>
          </a:xfrm>
        </p:spPr>
        <p:txBody>
          <a:bodyPr>
            <a:noAutofit/>
          </a:bodyPr>
          <a:lstStyle/>
          <a:p>
            <a:pPr algn="ctr"/>
            <a:r>
              <a:rPr lang="en-US" sz="2000" dirty="0" smtClean="0"/>
              <a:t>Bottlenecks, Referrals, and Vertical Integration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1821576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800"/>
                                        <p:tgtEl>
                                          <p:spTgt spid="1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8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800"/>
                                        <p:tgtEl>
                                          <p:spTgt spid="1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8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8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2" dur="80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800"/>
                                        <p:tgtEl>
                                          <p:spTgt spid="1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800"/>
                                        <p:tgtEl>
                                          <p:spTgt spid="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7" dur="2000" fill="hold"/>
                                        <p:tgtEl>
                                          <p:spTgt spid="4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38" presetID="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9" dur="2000" fill="hold"/>
                                        <p:tgtEl>
                                          <p:spTgt spid="5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40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-0.04306 " pathEditMode="relative" ptsTypes="AA">
                                      <p:cBhvr>
                                        <p:cTn id="41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6" dur="800"/>
                                        <p:tgtEl>
                                          <p:spTgt spid="1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0" dur="500"/>
                                        <p:tgtEl>
                                          <p:spTgt spid="1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5" dur="8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0" dur="800"/>
                                        <p:tgtEl>
                                          <p:spTgt spid="1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3" dur="800"/>
                                        <p:tgtEl>
                                          <p:spTgt spid="1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8" dur="8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3" dur="800"/>
                                        <p:tgtEl>
                                          <p:spTgt spid="1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6" dur="800"/>
                                        <p:tgtEl>
                                          <p:spTgt spid="1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3" dur="800"/>
                                        <p:tgtEl>
                                          <p:spTgt spid="1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4" fill="hold">
                      <p:stCondLst>
                        <p:cond delay="indefinite"/>
                      </p:stCondLst>
                      <p:childTnLst>
                        <p:par>
                          <p:cTn id="95" fill="hold">
                            <p:stCondLst>
                              <p:cond delay="0"/>
                            </p:stCondLst>
                            <p:childTnLst>
                              <p:par>
                                <p:cTn id="9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8" fill="hold">
                      <p:stCondLst>
                        <p:cond delay="indefinite"/>
                      </p:stCondLst>
                      <p:childTnLst>
                        <p:par>
                          <p:cTn id="99" fill="hold">
                            <p:stCondLst>
                              <p:cond delay="0"/>
                            </p:stCondLst>
                            <p:childTnLst>
                              <p:par>
                                <p:cTn id="10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2" dur="800"/>
                                        <p:tgtEl>
                                          <p:spTgt spid="2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3" fill="hold">
                      <p:stCondLst>
                        <p:cond delay="indefinite"/>
                      </p:stCondLst>
                      <p:childTnLst>
                        <p:par>
                          <p:cTn id="104" fill="hold">
                            <p:stCondLst>
                              <p:cond delay="0"/>
                            </p:stCondLst>
                            <p:childTnLst>
                              <p:par>
                                <p:cTn id="10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7" dur="500"/>
                                        <p:tgtEl>
                                          <p:spTgt spid="1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1" fill="hold">
                      <p:stCondLst>
                        <p:cond delay="indefinite"/>
                      </p:stCondLst>
                      <p:childTnLst>
                        <p:par>
                          <p:cTn id="112" fill="hold">
                            <p:stCondLst>
                              <p:cond delay="0"/>
                            </p:stCondLst>
                            <p:childTnLst>
                              <p:par>
                                <p:cTn id="113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5" dur="800"/>
                                        <p:tgtEl>
                                          <p:spTgt spid="1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8" dur="800"/>
                                        <p:tgtEl>
                                          <p:spTgt spid="1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1" dur="800"/>
                                        <p:tgtEl>
                                          <p:spTgt spid="1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2" fill="hold">
                      <p:stCondLst>
                        <p:cond delay="indefinite"/>
                      </p:stCondLst>
                      <p:childTnLst>
                        <p:par>
                          <p:cTn id="123" fill="hold">
                            <p:stCondLst>
                              <p:cond delay="0"/>
                            </p:stCondLst>
                            <p:childTnLst>
                              <p:par>
                                <p:cTn id="124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799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6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799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8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799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0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88889E-6 2.96296E-6 L -0.16632 2.96296E-6 " pathEditMode="relative" rAng="0" ptsTypes="AA">
                                      <p:cBhvr>
                                        <p:cTn id="131" dur="2000" fill="hold"/>
                                        <p:tgtEl>
                                          <p:spTgt spid="18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16" y="0"/>
                                    </p:animMotion>
                                  </p:childTnLst>
                                </p:cTn>
                              </p:par>
                              <p:par>
                                <p:cTn id="132" presetID="0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16649 0 " pathEditMode="relative" ptsTypes="AA">
                                      <p:cBhvr>
                                        <p:cTn id="133" dur="2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4" fill="hold">
                            <p:stCondLst>
                              <p:cond delay="2000"/>
                            </p:stCondLst>
                            <p:childTnLst>
                              <p:par>
                                <p:cTn id="13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29" grpId="0" animBg="1"/>
      <p:bldP spid="29" grpId="1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nipulation and Innovation</a:t>
            </a:r>
            <a:endParaRPr lang="en-US" dirty="0"/>
          </a:p>
        </p:txBody>
      </p:sp>
      <p:pic>
        <p:nvPicPr>
          <p:cNvPr id="4" name="Picture 3" descr="Screen Clippi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3800" y="1371600"/>
            <a:ext cx="5181600" cy="290557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" name="tabl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53671" y="4639120"/>
            <a:ext cx="5161729" cy="1818830"/>
          </a:xfrm>
          <a:prstGeom prst="rect">
            <a:avLst/>
          </a:prstGeom>
        </p:spPr>
      </p:pic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228600" y="1295400"/>
            <a:ext cx="3124200" cy="5334000"/>
          </a:xfrm>
        </p:spPr>
        <p:txBody>
          <a:bodyPr>
            <a:normAutofit lnSpcReduction="10000"/>
          </a:bodyPr>
          <a:lstStyle/>
          <a:p>
            <a:r>
              <a:rPr lang="en-US" sz="2000" dirty="0" smtClean="0"/>
              <a:t>Defensive Strategies for Dominant Firm</a:t>
            </a:r>
          </a:p>
          <a:p>
            <a:pPr lvl="1"/>
            <a:r>
              <a:rPr lang="en-US" sz="1800" dirty="0" smtClean="0"/>
              <a:t>Vertical integration</a:t>
            </a:r>
          </a:p>
          <a:p>
            <a:pPr lvl="1"/>
            <a:r>
              <a:rPr lang="en-US" sz="1800" dirty="0" smtClean="0"/>
              <a:t>Make your own service the winner through prominence</a:t>
            </a:r>
          </a:p>
          <a:p>
            <a:r>
              <a:rPr lang="en-US" sz="2000" dirty="0" smtClean="0"/>
              <a:t>Strategies for Competing Firm</a:t>
            </a:r>
          </a:p>
          <a:p>
            <a:pPr lvl="1"/>
            <a:r>
              <a:rPr lang="en-US" sz="1800" dirty="0" smtClean="0"/>
              <a:t>Partner with others</a:t>
            </a:r>
          </a:p>
          <a:p>
            <a:pPr lvl="1"/>
            <a:r>
              <a:rPr lang="en-US" sz="1800" dirty="0" smtClean="0"/>
              <a:t>Always choose the best partner to improve your user experience</a:t>
            </a:r>
          </a:p>
          <a:p>
            <a:pPr lvl="1"/>
            <a:r>
              <a:rPr lang="en-US" sz="1800" dirty="0" smtClean="0"/>
              <a:t>Innovate in verticals</a:t>
            </a:r>
          </a:p>
          <a:p>
            <a:r>
              <a:rPr lang="en-US" sz="2100" dirty="0" smtClean="0"/>
              <a:t>Impact on Industry</a:t>
            </a:r>
          </a:p>
          <a:p>
            <a:pPr lvl="1"/>
            <a:r>
              <a:rPr lang="en-US" sz="1800" dirty="0" smtClean="0"/>
              <a:t>Incentives for entrepreneurship and innovation</a:t>
            </a:r>
          </a:p>
        </p:txBody>
      </p:sp>
    </p:spTree>
    <p:extLst>
      <p:ext uri="{BB962C8B-B14F-4D97-AF65-F5344CB8AC3E}">
        <p14:creationId xmlns:p14="http://schemas.microsoft.com/office/powerpoint/2010/main" val="705761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ues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/>
        <p:txBody>
          <a:bodyPr>
            <a:normAutofit lnSpcReduction="10000"/>
          </a:bodyPr>
          <a:lstStyle/>
          <a:p>
            <a:pPr lvl="0"/>
            <a:r>
              <a:rPr lang="en-US" dirty="0" smtClean="0"/>
              <a:t>How do data and information affect platform competition and create competitive “bottlenecks”?</a:t>
            </a:r>
          </a:p>
          <a:p>
            <a:r>
              <a:rPr lang="en-US" dirty="0"/>
              <a:t>What is the role of economies of scale and network effects</a:t>
            </a:r>
            <a:r>
              <a:rPr lang="en-US" dirty="0" smtClean="0"/>
              <a:t>?</a:t>
            </a:r>
          </a:p>
          <a:p>
            <a:pPr lvl="0"/>
            <a:endParaRPr lang="en-US" dirty="0"/>
          </a:p>
          <a:p>
            <a:pPr lvl="1"/>
            <a:r>
              <a:rPr lang="en-US" dirty="0" smtClean="0"/>
              <a:t>Does </a:t>
            </a:r>
            <a:r>
              <a:rPr lang="en-US" dirty="0"/>
              <a:t>platform competition among firms, each of which has a substantial market share in some products, eliminate the </a:t>
            </a:r>
            <a:r>
              <a:rPr lang="en-US" dirty="0" smtClean="0"/>
              <a:t>importance of bottlenecks?</a:t>
            </a:r>
            <a:endParaRPr lang="en-US" dirty="0"/>
          </a:p>
          <a:p>
            <a:pPr lvl="1"/>
            <a:r>
              <a:rPr lang="en-US" dirty="0" smtClean="0"/>
              <a:t>What </a:t>
            </a:r>
            <a:r>
              <a:rPr lang="en-US" dirty="0"/>
              <a:t>are the motivations for vertical </a:t>
            </a:r>
            <a:r>
              <a:rPr lang="en-US" dirty="0" smtClean="0"/>
              <a:t>integration in platform competition?</a:t>
            </a:r>
          </a:p>
          <a:p>
            <a:pPr lvl="1"/>
            <a:r>
              <a:rPr lang="en-US" dirty="0" smtClean="0"/>
              <a:t>How do the big internet device, search and online advertising platforms affect internet publishing, innovation, and the markets for online services?</a:t>
            </a: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1260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vice Platform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smtClean="0"/>
              <a:t>Multi-sided markets</a:t>
            </a:r>
          </a:p>
          <a:p>
            <a:pPr lvl="0"/>
            <a:endParaRPr lang="en-US" dirty="0" smtClean="0"/>
          </a:p>
          <a:p>
            <a:pPr lvl="0"/>
            <a:r>
              <a:rPr lang="en-US" dirty="0" smtClean="0"/>
              <a:t>Referrals and bottlenecks</a:t>
            </a:r>
          </a:p>
          <a:p>
            <a:pPr lvl="0"/>
            <a:endParaRPr lang="en-US" dirty="0" smtClean="0"/>
          </a:p>
          <a:p>
            <a:pPr lvl="0"/>
            <a:r>
              <a:rPr lang="en-US" dirty="0" smtClean="0"/>
              <a:t>Vertical integration</a:t>
            </a: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77561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latform Competition and Innovation</a:t>
            </a:r>
            <a:endParaRPr lang="en-US" dirty="0"/>
          </a:p>
        </p:txBody>
      </p:sp>
      <p:pic>
        <p:nvPicPr>
          <p:cNvPr id="4" name="Picture 4"/>
          <p:cNvPicPr>
            <a:picLocks noGrp="1" noChangeAspect="1" noChangeArrowheads="1"/>
          </p:cNvPicPr>
          <p:nvPr>
            <p:ph sz="quarter"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9800" y="2638426"/>
            <a:ext cx="2857500" cy="2343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6" descr="http://ts4.mm.bing.net/images/thumbnail.aspx?q=1426606656967&amp;id=a3d671d0dd5587cdc2d43c91703421ba&amp;url=http%3a%2f%2fwww.g1-news.com%2fwp-content%2fuploads%2fandroid-app-store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1200" y="1752600"/>
            <a:ext cx="2514600" cy="2514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7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1752600"/>
            <a:ext cx="2590800" cy="9948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9791" y="4495800"/>
            <a:ext cx="2196009" cy="21364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5278755"/>
            <a:ext cx="3581400" cy="10744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172" name="Picture 4" descr="http://ts4.mm.bing.net/th?id=I.4893738005431159&amp;pid=1.7&amp;w=139&amp;h=143&amp;c=7&amp;rs=1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962" y="3133725"/>
            <a:ext cx="1323975" cy="1362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4" name="Picture 6" descr="http://ts4.mm.bing.net/th?id=I.4560766380999611&amp;pid=1.7&amp;w=212&amp;h=149&amp;c=7&amp;rs=1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5200" y="1219200"/>
            <a:ext cx="2019300" cy="1419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6" name="Picture 8" descr="http://9to5google.files.wordpress.com/2012/01/google-apps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1780" y="4431873"/>
            <a:ext cx="2258961" cy="16937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748675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Rounded Rectangle 66"/>
          <p:cNvSpPr/>
          <p:nvPr/>
        </p:nvSpPr>
        <p:spPr>
          <a:xfrm>
            <a:off x="190500" y="505632"/>
            <a:ext cx="8724900" cy="838200"/>
          </a:xfrm>
          <a:prstGeom prst="roundRect">
            <a:avLst>
              <a:gd name="adj" fmla="val 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egoe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2667000" y="505632"/>
            <a:ext cx="3810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Segoe"/>
              </a:rPr>
              <a:t>Online Services </a:t>
            </a:r>
            <a:r>
              <a:rPr lang="en-US" dirty="0" smtClean="0">
                <a:solidFill>
                  <a:schemeClr val="bg1"/>
                </a:solidFill>
                <a:latin typeface="Segoe"/>
              </a:rPr>
              <a:t>&amp; Content</a:t>
            </a:r>
            <a:endParaRPr lang="en-US" dirty="0">
              <a:solidFill>
                <a:schemeClr val="bg1"/>
              </a:solidFill>
              <a:latin typeface="Segoe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3486861" y="1724832"/>
            <a:ext cx="2019300" cy="3602502"/>
            <a:chOff x="3486861" y="1724832"/>
            <a:chExt cx="2019300" cy="3602502"/>
          </a:xfrm>
        </p:grpSpPr>
        <p:sp>
          <p:nvSpPr>
            <p:cNvPr id="70" name="Rounded Rectangle 69"/>
            <p:cNvSpPr/>
            <p:nvPr/>
          </p:nvSpPr>
          <p:spPr>
            <a:xfrm>
              <a:off x="3486861" y="4870134"/>
              <a:ext cx="2011680" cy="457200"/>
            </a:xfrm>
            <a:prstGeom prst="roundRect">
              <a:avLst>
                <a:gd name="adj" fmla="val 0"/>
              </a:avLst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latin typeface="Segoe"/>
                </a:rPr>
                <a:t>Device</a:t>
              </a:r>
              <a:endParaRPr lang="en-US" dirty="0">
                <a:latin typeface="Segoe"/>
              </a:endParaRPr>
            </a:p>
          </p:txBody>
        </p:sp>
        <p:sp>
          <p:nvSpPr>
            <p:cNvPr id="71" name="Rounded Rectangle 70"/>
            <p:cNvSpPr/>
            <p:nvPr/>
          </p:nvSpPr>
          <p:spPr>
            <a:xfrm>
              <a:off x="3486861" y="4356390"/>
              <a:ext cx="2011680" cy="457200"/>
            </a:xfrm>
            <a:prstGeom prst="roundRect">
              <a:avLst>
                <a:gd name="adj" fmla="val 0"/>
              </a:avLst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latin typeface="Segoe"/>
                </a:rPr>
                <a:t>OS</a:t>
              </a:r>
              <a:endParaRPr lang="en-US" dirty="0">
                <a:latin typeface="Segoe"/>
              </a:endParaRPr>
            </a:p>
          </p:txBody>
        </p:sp>
        <p:sp>
          <p:nvSpPr>
            <p:cNvPr id="72" name="Rounded Rectangle 71"/>
            <p:cNvSpPr/>
            <p:nvPr/>
          </p:nvSpPr>
          <p:spPr>
            <a:xfrm>
              <a:off x="5048961" y="3782232"/>
              <a:ext cx="457200" cy="457200"/>
            </a:xfrm>
            <a:prstGeom prst="roundRect">
              <a:avLst>
                <a:gd name="adj" fmla="val 0"/>
              </a:avLst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000" dirty="0" smtClean="0">
                  <a:latin typeface="Segoe"/>
                </a:rPr>
                <a:t>Apps</a:t>
              </a:r>
              <a:endParaRPr lang="en-US" sz="1000" dirty="0">
                <a:latin typeface="Segoe"/>
              </a:endParaRPr>
            </a:p>
          </p:txBody>
        </p:sp>
        <p:sp>
          <p:nvSpPr>
            <p:cNvPr id="73" name="Rounded Rectangle 72"/>
            <p:cNvSpPr/>
            <p:nvPr/>
          </p:nvSpPr>
          <p:spPr>
            <a:xfrm>
              <a:off x="4286961" y="3304020"/>
              <a:ext cx="533400" cy="457200"/>
            </a:xfrm>
            <a:prstGeom prst="roundRect">
              <a:avLst>
                <a:gd name="adj" fmla="val 0"/>
              </a:avLst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000" dirty="0" smtClean="0">
                  <a:latin typeface="Segoe"/>
                </a:rPr>
                <a:t>Search</a:t>
              </a:r>
              <a:endParaRPr lang="en-US" sz="1000" dirty="0">
                <a:latin typeface="Segoe"/>
              </a:endParaRPr>
            </a:p>
          </p:txBody>
        </p:sp>
        <p:sp>
          <p:nvSpPr>
            <p:cNvPr id="74" name="Rounded Rectangle 73"/>
            <p:cNvSpPr/>
            <p:nvPr/>
          </p:nvSpPr>
          <p:spPr>
            <a:xfrm>
              <a:off x="3486861" y="3304020"/>
              <a:ext cx="723900" cy="914400"/>
            </a:xfrm>
            <a:prstGeom prst="roundRect">
              <a:avLst>
                <a:gd name="adj" fmla="val 0"/>
              </a:avLst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000" dirty="0" smtClean="0">
                  <a:latin typeface="Segoe"/>
                </a:rPr>
                <a:t>Browser</a:t>
              </a:r>
              <a:endParaRPr lang="en-US" sz="1000" dirty="0">
                <a:latin typeface="Segoe"/>
              </a:endParaRPr>
            </a:p>
          </p:txBody>
        </p:sp>
        <p:sp>
          <p:nvSpPr>
            <p:cNvPr id="75" name="Up Arrow 74"/>
            <p:cNvSpPr/>
            <p:nvPr/>
          </p:nvSpPr>
          <p:spPr>
            <a:xfrm>
              <a:off x="4058361" y="1724832"/>
              <a:ext cx="228600" cy="1490472"/>
            </a:xfrm>
            <a:prstGeom prst="upArrow">
              <a:avLst>
                <a:gd name="adj1" fmla="val 50000"/>
                <a:gd name="adj2" fmla="val 87500"/>
              </a:avLst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Up Arrow 75"/>
            <p:cNvSpPr/>
            <p:nvPr/>
          </p:nvSpPr>
          <p:spPr>
            <a:xfrm>
              <a:off x="3648178" y="1724832"/>
              <a:ext cx="228600" cy="457200"/>
            </a:xfrm>
            <a:prstGeom prst="upArrow">
              <a:avLst>
                <a:gd name="adj1" fmla="val 50000"/>
                <a:gd name="adj2" fmla="val 87500"/>
              </a:avLst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Rounded Rectangle 76"/>
            <p:cNvSpPr/>
            <p:nvPr/>
          </p:nvSpPr>
          <p:spPr>
            <a:xfrm>
              <a:off x="3495778" y="2247726"/>
              <a:ext cx="533400" cy="457200"/>
            </a:xfrm>
            <a:prstGeom prst="roundRect">
              <a:avLst>
                <a:gd name="adj" fmla="val 0"/>
              </a:avLst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000" dirty="0" smtClean="0">
                  <a:latin typeface="Segoe"/>
                </a:rPr>
                <a:t>Search</a:t>
              </a:r>
              <a:endParaRPr lang="en-US" sz="1000" dirty="0">
                <a:latin typeface="Segoe"/>
              </a:endParaRPr>
            </a:p>
          </p:txBody>
        </p:sp>
        <p:sp>
          <p:nvSpPr>
            <p:cNvPr id="78" name="Up Arrow 77"/>
            <p:cNvSpPr/>
            <p:nvPr/>
          </p:nvSpPr>
          <p:spPr>
            <a:xfrm>
              <a:off x="3648178" y="2758104"/>
              <a:ext cx="228600" cy="457200"/>
            </a:xfrm>
            <a:prstGeom prst="upArrow">
              <a:avLst>
                <a:gd name="adj1" fmla="val 50000"/>
                <a:gd name="adj2" fmla="val 87500"/>
              </a:avLst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Up Arrow 78"/>
            <p:cNvSpPr/>
            <p:nvPr/>
          </p:nvSpPr>
          <p:spPr>
            <a:xfrm>
              <a:off x="4439361" y="1724832"/>
              <a:ext cx="228600" cy="1490472"/>
            </a:xfrm>
            <a:prstGeom prst="upArrow">
              <a:avLst>
                <a:gd name="adj1" fmla="val 50000"/>
                <a:gd name="adj2" fmla="val 87500"/>
              </a:avLst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" name="Up Arrow 79"/>
            <p:cNvSpPr/>
            <p:nvPr/>
          </p:nvSpPr>
          <p:spPr>
            <a:xfrm>
              <a:off x="4439361" y="3815522"/>
              <a:ext cx="228600" cy="420624"/>
            </a:xfrm>
            <a:prstGeom prst="upArrow">
              <a:avLst>
                <a:gd name="adj1" fmla="val 50000"/>
                <a:gd name="adj2" fmla="val 87500"/>
              </a:avLst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" name="Up Arrow 80"/>
            <p:cNvSpPr/>
            <p:nvPr/>
          </p:nvSpPr>
          <p:spPr>
            <a:xfrm>
              <a:off x="5172178" y="1724832"/>
              <a:ext cx="228600" cy="1981200"/>
            </a:xfrm>
            <a:prstGeom prst="upArrow">
              <a:avLst>
                <a:gd name="adj1" fmla="val 50000"/>
                <a:gd name="adj2" fmla="val 87500"/>
              </a:avLst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2" name="Up Arrow 81"/>
            <p:cNvSpPr/>
            <p:nvPr/>
          </p:nvSpPr>
          <p:spPr>
            <a:xfrm>
              <a:off x="4820361" y="1724832"/>
              <a:ext cx="228600" cy="2514600"/>
            </a:xfrm>
            <a:prstGeom prst="upArrow">
              <a:avLst>
                <a:gd name="adj1" fmla="val 50000"/>
                <a:gd name="adj2" fmla="val 87500"/>
              </a:avLst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435028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Antitrust and the Browser Wars, </a:t>
            </a:r>
            <a:r>
              <a:rPr lang="en-US" dirty="0" err="1" smtClean="0"/>
              <a:t>Revisted</a:t>
            </a:r>
            <a:endParaRPr lang="en-US" dirty="0"/>
          </a:p>
        </p:txBody>
      </p:sp>
      <p:pic>
        <p:nvPicPr>
          <p:cNvPr id="8194" name="Picture 2" descr="http://t2.gstatic.com/images?q=tbn:ANd9GcSvkTeSyZzhwUxZfE_fM_eNPAoutS2jILJzwTfgUsIgcO-8CY_w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5677" y="1219200"/>
            <a:ext cx="4901510" cy="2133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4614" y="4190998"/>
            <a:ext cx="2143125" cy="2143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197" name="Picture 5" descr="http://t2.gstatic.com/images?q=tbn:ANd9GcQpxRdeZp2Agg4iZpUMhww40OlCZPr8G9twfpdgJvO5VVacvvHKsQ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9137" y="4098130"/>
            <a:ext cx="2434591" cy="1014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AutoShape 7" descr="data:image/jpeg;base64,/9j/4AAQSkZJRgABAQAAAQABAAD/2wCEAAkGBhQQERUSEhIWFBUUFBgXFBUXFRcYFxUUFxUVFxcYEhUXHCYeFxkkGhUUHy8hKCcpLy0sFR4xNTAqNSYrLSkBCQoKDgwOGg8PGi8lHyUvLyw1LC81Lyw0LCw0LCwsNDQxMi0xNC82KTUsLSw1MC0sLCwsLDUpLywqNDQsLCwpLP/AABEIAGYAZgMBIgACEQEDEQH/xAAcAAACAgMBAQAAAAAAAAAAAAAABQQGAgMHAQj/xABBEAABAwICBgUGDAYDAAAAAAABAAIDBBEhMQUGEkFRYRMicYGRMkJiscHSBxQWI1JTY3KSk6HRQ4KD0+HworLC/8QAGwEAAgMBAQEAAAAAAAAAAAAAAAUDBAYCAQf/xAA2EQABAwICBQkGBwAAAAAAAAABAAIDBBEFIRIyUdHwEyIxQVJhgZGhFBUjM6LhBiRCcYLB8f/aAAwDAQACEQMRAD8A7ihCEIQhCEIQhYSTBoLnEADMkgAdpKTz62RDCMOl5sHV7nuIB7rrtrHO1QuHyNZm42Tq6LpHBp2aTyKcW9KX17LCP1UmXS+yOsAHbw03F+TiB6lUqaiOm+YfBdQnltTNMyVqfVsGbgq7U6bviTsjiTYd5KlwaKe8BxcLHEWxuOVsErGIzTfIjuNp4/tXOQaz5jrdyatr4z549S3hyVO0CCPLPgtdAXwSCJ+LXeSefL9lZjqZ2uAnZYHK42965MTHAljs9idIQhM1WQhCEIQlWm9Ptpha21I7yWA2w+k4+a3n4XW3TmlhTRGQ4nJjfpPOQ7N5PAFUWkhfO8yPJc5xuTxO6w3AZAblbp4A/nu1QqFZV8iNFmsVIfJJUu2pXbWODfMb91nHmbnmntFogNG1Jhy3963UlE2Bu07yuHBQ6uuLzYJDimOaJ5Cl9OPuVJQ4YZPi1B8+pb6rSVuqzAclCMZOJWuCpZchu1K4Z9Gxz7dpaLDxWc9eGDrtkjHF8bmt73W2R4rigwMuIlrMz2d+7zUlXiZY3QpRl2t29Qq2nv7OSV02lZaR14ndW+LDiw9rd3aLFO5TcXCUV1PdbaJjNHQsLbFlzI9rtME32q76v6yx1ber1Xt8uMnEcx9JvP1KZXRX2DvEjSPauPipfTSiWM7Lmm49oI3g5Ef4XVtBaYbWwslbhmHNvfZeMCL/AKjiCEpr6LQHN1T6LQ4fW8tk7WHqmyEIVVXkLwr1aayoEbHPOTGucexoJ9iEKh6y1pqKroxi2LqAel558bN/lPFWDR1EIGbTvKIy4JXqzovYHTS+Ucf5jie+5Kk1tYXusErxvFNECkg/Y95481Xw6iMrzUy/4F5V1Zec1nojQ3xkdJJfofMZl0tvOkOexwbvzOdlFrIwIiL22i1rnYmzXODXOw4NJKfx6w0zQAJWgAWAs7ADAAYKTDsLNK0SvF5D9P37/JTS1rKhxY02YPqO5M4Yg0BrQABkALAdgGSyIulnymp/rR4O/ZHymp/rR4O/ZM9B+wrzlGbQlOnNBCEGaEWaMZYxls73xjzSMyBgRffmknxHcrg7WSmIsZW234O/ZUpgAbZpu1rnNaeLA5waRfds2TSkc481yR4hGwEPZbNI9JRKX8Hmmegq+iJ6k/V7Hi5Ye/FveFrrxgq3NOYpGyNwLHBw7WkH2Jo+MSRlhS2CQxShwX0GhaoJdprXDJwBHeLoWUWxW1RNJDaie3i0jxUopZpao2WkKjXVHIRFw6VJGzTdZKKqpsAxqgxyi+HjxS3Smktizb9Z/wCjd578vFY0lTguPw/hRePbZhmdXfu89ioYzXCP8pF/LdvTzp0dMeJ8SlU82Dbkhu2zbIJB2C9odYjEYEq1DVCD7X8+X3lqZXtitpJLT0z5wS0jJKTMeJ8Stb5TxPiU6+SFP9r+fL7y8+R1P9r+fL7yiFVF38eKse7pdoVfklPE+JUKd6th1Lpj9b+fL7ywOo9Md0v583vKQVsQ6jx4rk4bLtCoFc7BVfSW/sK7I7UCkObJD/Xm95aX/BrQnOJ5/rS+8pxiUQ6jx4rj3XLfpHHgnegr/FoL59DH/wBAhS4owxoaMA0AAcABYBeJETcrQgWCzcq1pKUvfsjMnD1J/WPsxx5JHomPbnv9EE9+AHrWexIGWaODbnx6q/S80Ok2Kg630bqarcHEkODXMPo2tYdhDgsKKrur/rzq18cguwfOxXdH6Q85nfYW5gLk9HUlpscLGx5cb8F9CoHtfAGD9ItZYnEIXMmLz15q27YcC04gix7Crhqtp4SNEMjvnWC2P8Royc3ieI48iuf09VdSC8HuxByIPEEYg8wvaimErbLilqjA646OtdYui657S611EYtttePtG3P4mlpPeCeayqNcKhwsHMZ9xmPi8kDwSr2Ca9k695QWvcq1af082mZYWdK4dRn/AKdwYOPcMVTHaz1I/ju/BD/bS2SYkkkkk5kkkk+kTiVGmmsmUFExg5wuUqqMQkkdzDYJjUa5VTf47vwQ/wBtb9VNaK2rq2RdLdgu+XqReQ3dcMFiSQM+Kp9dU3wFySbADEkk2AA34rquoeq/xODakHz0tnSeiPNYDyub8yVzWNhhjyaLnoU1C6eaS5cbBWhCEJCtAoukR827/d6VaCNpX824dx/ynr2Agg5FV+ooJInhzAXWyIFz2EJLXRvZUMqGi4GRtx3q5AQWOjJtdWGyo2u2oXTk1FMAJc3syElt44P9farJBphxwMTr8r+0KdFI52bdntzTemrgHB8R9CqdRS6bS2QLhcU7o3FjwWuabOa4WIPAg5JjFW3XVNNasU9WPnowXDJ46rx2OGNuRwVPrfgre03gqARubI2x/Ez9lo4sQieOfkVm5sMkafh5hIRUBBnU1+oNc3JkTuYl95oXsWoFc7NsTOZlv+jWlWPaYO0FV9jn7BSySqsoLpnSPEcbS97vJa0Xce72q7UPwWE41FQSPoxNt/zff1K46H1fgpG7MMTWXzdm533nnEqtLiMbdTMq3DhcjjeTIKs6mahfFyKips6bNjc2xc7+c/nu3cVdrL2yEkkldK7ScU/iibE3RaMkIQhRqRCEIQhCEIQhCEIQhCEIQhCEIQhCEIQhCEIQhf/Z"/>
          <p:cNvSpPr>
            <a:spLocks noChangeAspect="1" noChangeArrowheads="1"/>
          </p:cNvSpPr>
          <p:nvPr/>
        </p:nvSpPr>
        <p:spPr bwMode="auto">
          <a:xfrm>
            <a:off x="63500" y="-477838"/>
            <a:ext cx="971550" cy="971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AutoShape 9" descr="data:image/jpeg;base64,/9j/4AAQSkZJRgABAQAAAQABAAD/2wCEAAkGBhQQERUSEhIWFBUUFBgXFBUXFRcYFxUUFxUVFxcYEhUXHCYeFxkkGhUUHy8hKCcpLy0sFR4xNTAqNSYrLSkBCQoKDgwOGg8PGi8lHyUvLyw1LC81Lyw0LCw0LCwsNDQxMi0xNC82KTUsLSw1MC0sLCwsLDUpLywqNDQsLCwpLP/AABEIAGYAZgMBIgACEQEDEQH/xAAcAAACAgMBAQAAAAAAAAAAAAAABQQGAgMHAQj/xABBEAABAwICBgUGDAYDAAAAAAABAAIDBBEhMQUGEkFRYRMicYGRMkJiscHSBxQWI1JTY3KSk6HRQ4KD0+HworLC/8QAGwEAAgMBAQEAAAAAAAAAAAAAAAUDBAYCAQf/xAA2EQABAwICBQkGBwAAAAAAAAABAAIDBBEFIRIyUdHwEyIxQVJhgZGhFBUjM6LhBiRCcYLB8f/aAAwDAQACEQMRAD8A7ihCEIQhCEIQhYSTBoLnEADMkgAdpKTz62RDCMOl5sHV7nuIB7rrtrHO1QuHyNZm42Tq6LpHBp2aTyKcW9KX17LCP1UmXS+yOsAHbw03F+TiB6lUqaiOm+YfBdQnltTNMyVqfVsGbgq7U6bviTsjiTYd5KlwaKe8BxcLHEWxuOVsErGIzTfIjuNp4/tXOQaz5jrdyatr4z549S3hyVO0CCPLPgtdAXwSCJ+LXeSefL9lZjqZ2uAnZYHK42965MTHAljs9idIQhM1WQhCEIQlWm9Ptpha21I7yWA2w+k4+a3n4XW3TmlhTRGQ4nJjfpPOQ7N5PAFUWkhfO8yPJc5xuTxO6w3AZAblbp4A/nu1QqFZV8iNFmsVIfJJUu2pXbWODfMb91nHmbnmntFogNG1Jhy3963UlE2Bu07yuHBQ6uuLzYJDimOaJ5Cl9OPuVJQ4YZPi1B8+pb6rSVuqzAclCMZOJWuCpZchu1K4Z9Gxz7dpaLDxWc9eGDrtkjHF8bmt73W2R4rigwMuIlrMz2d+7zUlXiZY3QpRl2t29Qq2nv7OSV02lZaR14ndW+LDiw9rd3aLFO5TcXCUV1PdbaJjNHQsLbFlzI9rtME32q76v6yx1ber1Xt8uMnEcx9JvP1KZXRX2DvEjSPauPipfTSiWM7Lmm49oI3g5Ef4XVtBaYbWwslbhmHNvfZeMCL/AKjiCEpr6LQHN1T6LQ4fW8tk7WHqmyEIVVXkLwr1aayoEbHPOTGucexoJ9iEKh6y1pqKroxi2LqAel558bN/lPFWDR1EIGbTvKIy4JXqzovYHTS+Ucf5jie+5Kk1tYXusErxvFNECkg/Y95481Xw6iMrzUy/4F5V1Zec1nojQ3xkdJJfofMZl0tvOkOexwbvzOdlFrIwIiL22i1rnYmzXODXOw4NJKfx6w0zQAJWgAWAs7ADAAYKTDsLNK0SvF5D9P37/JTS1rKhxY02YPqO5M4Yg0BrQABkALAdgGSyIulnymp/rR4O/ZHymp/rR4O/ZM9B+wrzlGbQlOnNBCEGaEWaMZYxls73xjzSMyBgRffmknxHcrg7WSmIsZW234O/ZUpgAbZpu1rnNaeLA5waRfds2TSkc481yR4hGwEPZbNI9JRKX8Hmmegq+iJ6k/V7Hi5Ye/FveFrrxgq3NOYpGyNwLHBw7WkH2Jo+MSRlhS2CQxShwX0GhaoJdprXDJwBHeLoWUWxW1RNJDaie3i0jxUopZpao2WkKjXVHIRFw6VJGzTdZKKqpsAxqgxyi+HjxS3Smktizb9Z/wCjd578vFY0lTguPw/hRePbZhmdXfu89ioYzXCP8pF/LdvTzp0dMeJ8SlU82Dbkhu2zbIJB2C9odYjEYEq1DVCD7X8+X3lqZXtitpJLT0z5wS0jJKTMeJ8Stb5TxPiU6+SFP9r+fL7y8+R1P9r+fL7yiFVF38eKse7pdoVfklPE+JUKd6th1Lpj9b+fL7ywOo9Md0v583vKQVsQ6jx4rk4bLtCoFc7BVfSW/sK7I7UCkObJD/Xm95aX/BrQnOJ5/rS+8pxiUQ6jx4rj3XLfpHHgnegr/FoL59DH/wBAhS4owxoaMA0AAcABYBeJETcrQgWCzcq1pKUvfsjMnD1J/WPsxx5JHomPbnv9EE9+AHrWexIGWaODbnx6q/S80Ok2Kg630bqarcHEkODXMPo2tYdhDgsKKrur/rzq18cguwfOxXdH6Q85nfYW5gLk9HUlpscLGx5cb8F9CoHtfAGD9ItZYnEIXMmLz15q27YcC04gix7Crhqtp4SNEMjvnWC2P8Royc3ieI48iuf09VdSC8HuxByIPEEYg8wvaimErbLilqjA646OtdYui657S611EYtttePtG3P4mlpPeCeayqNcKhwsHMZ9xmPi8kDwSr2Ca9k695QWvcq1af082mZYWdK4dRn/AKdwYOPcMVTHaz1I/ju/BD/bS2SYkkkkk5kkkk+kTiVGmmsmUFExg5wuUqqMQkkdzDYJjUa5VTf47vwQ/wBtb9VNaK2rq2RdLdgu+XqReQ3dcMFiSQM+Kp9dU3wFySbADEkk2AA34rquoeq/xODakHz0tnSeiPNYDyub8yVzWNhhjyaLnoU1C6eaS5cbBWhCEJCtAoukR827/d6VaCNpX824dx/ynr2Agg5FV+ooJInhzAXWyIFz2EJLXRvZUMqGi4GRtx3q5AQWOjJtdWGyo2u2oXTk1FMAJc3syElt44P9farJBphxwMTr8r+0KdFI52bdntzTemrgHB8R9CqdRS6bS2QLhcU7o3FjwWuabOa4WIPAg5JjFW3XVNNasU9WPnowXDJ46rx2OGNuRwVPrfgre03gqARubI2x/Ez9lo4sQieOfkVm5sMkafh5hIRUBBnU1+oNc3JkTuYl95oXsWoFc7NsTOZlv+jWlWPaYO0FV9jn7BSySqsoLpnSPEcbS97vJa0Xce72q7UPwWE41FQSPoxNt/zff1K46H1fgpG7MMTWXzdm533nnEqtLiMbdTMq3DhcjjeTIKs6mahfFyKips6bNjc2xc7+c/nu3cVdrL2yEkkldK7ScU/iibE3RaMkIQhRqRCEIQhCEIQhCEIQhCEIQhCEIQhCEIQhCEIQhf/Z"/>
          <p:cNvSpPr>
            <a:spLocks noChangeAspect="1" noChangeArrowheads="1"/>
          </p:cNvSpPr>
          <p:nvPr/>
        </p:nvSpPr>
        <p:spPr bwMode="auto">
          <a:xfrm>
            <a:off x="215900" y="-325438"/>
            <a:ext cx="971550" cy="971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8203" name="Picture 11" descr="http://www.bitrebels.com/wp-content/uploads/2012/07/internet-explorer-simulator-project-1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000" y="4263990"/>
            <a:ext cx="2667000" cy="177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04" name="Picture 1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49" y="3757612"/>
            <a:ext cx="3936365" cy="27907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87622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bile Platforms</a:t>
            </a:r>
            <a:endParaRPr lang="en-US" dirty="0"/>
          </a:p>
        </p:txBody>
      </p:sp>
      <p:pic>
        <p:nvPicPr>
          <p:cNvPr id="4" name="Picture 2" descr="http://t0.gstatic.com/images?q=tbn:ANd9GcQQ0SpwtbTx92KXNjNmUVEibKCIaIQXe7RgwrPm7Yry6urmKpTa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900" y="1323843"/>
            <a:ext cx="2800350" cy="1628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637" y="3172387"/>
            <a:ext cx="2590800" cy="9948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4"/>
          <p:cNvPicPr>
            <a:picLocks noGrp="1" noChangeAspect="1" noChangeArrowheads="1"/>
          </p:cNvPicPr>
          <p:nvPr>
            <p:ph sz="quarter"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2162" y="1219200"/>
            <a:ext cx="2857500" cy="2343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42" name="Picture 2" descr="https://encrypted-tbn3.gstatic.com/images?q=tbn:ANd9GcS3YvZVfEIKIOtu8tIvQHXAVz_MudKxRegmv2IoPLaZ8Fxnq4Pn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75" y="4423810"/>
            <a:ext cx="2143125" cy="214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6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80" r="29912"/>
          <a:stretch/>
        </p:blipFill>
        <p:spPr bwMode="auto">
          <a:xfrm>
            <a:off x="6667500" y="4102710"/>
            <a:ext cx="1524000" cy="26981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44" name="Picture 4" descr="http://ts1.mm.bing.net/th?id=i.4770837517633100&amp;pid=1.7&amp;w=146&amp;h=146&amp;c=7&amp;rs=1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0" y="4800046"/>
            <a:ext cx="1390650" cy="1390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6" name="Picture 6" descr="http://ts3.mm.bing.net/th?id=I.4929386220880890&amp;pid=1.7&amp;w=222&amp;h=118&amp;c=7&amp;rs=1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0950" y="3429000"/>
            <a:ext cx="2114550" cy="1123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8" name="Picture 8" descr="http://ts4.mm.bing.net/th?id=I.4689254614433991&amp;pid=1.7&amp;w=114&amp;h=145&amp;c=7&amp;rs=1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05275" y="1282425"/>
            <a:ext cx="1485900" cy="1889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29623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ounded Rectangle 18"/>
          <p:cNvSpPr/>
          <p:nvPr/>
        </p:nvSpPr>
        <p:spPr>
          <a:xfrm>
            <a:off x="190500" y="505632"/>
            <a:ext cx="8724900" cy="838200"/>
          </a:xfrm>
          <a:prstGeom prst="roundRect">
            <a:avLst>
              <a:gd name="adj" fmla="val 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egoe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2667000" y="505632"/>
            <a:ext cx="3810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Segoe"/>
              </a:rPr>
              <a:t>Online Services </a:t>
            </a:r>
            <a:r>
              <a:rPr lang="en-US" dirty="0" smtClean="0">
                <a:solidFill>
                  <a:schemeClr val="bg1"/>
                </a:solidFill>
                <a:latin typeface="Segoe"/>
              </a:rPr>
              <a:t>&amp; Content</a:t>
            </a:r>
            <a:endParaRPr lang="en-US" dirty="0">
              <a:solidFill>
                <a:schemeClr val="bg1"/>
              </a:solidFill>
              <a:latin typeface="Segoe"/>
            </a:endParaRPr>
          </a:p>
        </p:txBody>
      </p:sp>
      <p:sp>
        <p:nvSpPr>
          <p:cNvPr id="20" name="Rounded Rectangle 19"/>
          <p:cNvSpPr/>
          <p:nvPr/>
        </p:nvSpPr>
        <p:spPr>
          <a:xfrm>
            <a:off x="705229" y="4870134"/>
            <a:ext cx="2011680" cy="457200"/>
          </a:xfrm>
          <a:prstGeom prst="roundRect">
            <a:avLst>
              <a:gd name="adj" fmla="val 0"/>
            </a:avLst>
          </a:prstGeom>
          <a:solidFill>
            <a:srgbClr val="183860"/>
          </a:solidFill>
          <a:ln w="76200">
            <a:solidFill>
              <a:srgbClr val="0070C0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latin typeface="Segoe"/>
              </a:rPr>
              <a:t>Device</a:t>
            </a:r>
            <a:endParaRPr lang="en-US" dirty="0">
              <a:latin typeface="Segoe"/>
            </a:endParaRPr>
          </a:p>
        </p:txBody>
      </p:sp>
      <p:sp>
        <p:nvSpPr>
          <p:cNvPr id="21" name="Rounded Rectangle 20"/>
          <p:cNvSpPr/>
          <p:nvPr/>
        </p:nvSpPr>
        <p:spPr>
          <a:xfrm>
            <a:off x="705229" y="4356390"/>
            <a:ext cx="2011680" cy="457200"/>
          </a:xfrm>
          <a:prstGeom prst="roundRect">
            <a:avLst>
              <a:gd name="adj" fmla="val 0"/>
            </a:avLst>
          </a:prstGeom>
          <a:solidFill>
            <a:srgbClr val="2C72D0"/>
          </a:solidFill>
          <a:ln>
            <a:solidFill>
              <a:srgbClr val="2C72D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latin typeface="Segoe"/>
              </a:rPr>
              <a:t>OS</a:t>
            </a:r>
            <a:endParaRPr lang="en-US" dirty="0">
              <a:latin typeface="Segoe"/>
            </a:endParaRPr>
          </a:p>
        </p:txBody>
      </p:sp>
      <p:sp>
        <p:nvSpPr>
          <p:cNvPr id="22" name="Rounded Rectangle 21"/>
          <p:cNvSpPr/>
          <p:nvPr/>
        </p:nvSpPr>
        <p:spPr>
          <a:xfrm>
            <a:off x="2267329" y="3782232"/>
            <a:ext cx="457200" cy="457200"/>
          </a:xfrm>
          <a:prstGeom prst="roundRect">
            <a:avLst>
              <a:gd name="adj" fmla="val 0"/>
            </a:avLst>
          </a:prstGeom>
          <a:solidFill>
            <a:srgbClr val="183860"/>
          </a:solidFill>
          <a:ln w="762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dirty="0" smtClean="0">
                <a:latin typeface="Segoe"/>
              </a:rPr>
              <a:t>Apps</a:t>
            </a:r>
            <a:endParaRPr lang="en-US" sz="1000" dirty="0">
              <a:latin typeface="Segoe"/>
            </a:endParaRPr>
          </a:p>
        </p:txBody>
      </p:sp>
      <p:sp>
        <p:nvSpPr>
          <p:cNvPr id="23" name="Rounded Rectangle 22"/>
          <p:cNvSpPr/>
          <p:nvPr/>
        </p:nvSpPr>
        <p:spPr>
          <a:xfrm>
            <a:off x="705229" y="3304020"/>
            <a:ext cx="723900" cy="914400"/>
          </a:xfrm>
          <a:prstGeom prst="roundRect">
            <a:avLst>
              <a:gd name="adj" fmla="val 0"/>
            </a:avLst>
          </a:prstGeom>
          <a:solidFill>
            <a:srgbClr val="2C72D0"/>
          </a:solidFill>
          <a:ln>
            <a:solidFill>
              <a:srgbClr val="2C72D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dirty="0" smtClean="0">
                <a:latin typeface="Segoe"/>
              </a:rPr>
              <a:t>Browser</a:t>
            </a:r>
            <a:endParaRPr lang="en-US" sz="1000" dirty="0">
              <a:latin typeface="Segoe"/>
            </a:endParaRPr>
          </a:p>
        </p:txBody>
      </p:sp>
      <p:sp>
        <p:nvSpPr>
          <p:cNvPr id="24" name="Up Arrow 23"/>
          <p:cNvSpPr/>
          <p:nvPr/>
        </p:nvSpPr>
        <p:spPr>
          <a:xfrm>
            <a:off x="1276729" y="1724832"/>
            <a:ext cx="228600" cy="1490472"/>
          </a:xfrm>
          <a:prstGeom prst="upArrow">
            <a:avLst>
              <a:gd name="adj1" fmla="val 50000"/>
              <a:gd name="adj2" fmla="val 87500"/>
            </a:avLst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Up Arrow 24"/>
          <p:cNvSpPr/>
          <p:nvPr/>
        </p:nvSpPr>
        <p:spPr>
          <a:xfrm>
            <a:off x="866546" y="1724832"/>
            <a:ext cx="228600" cy="457200"/>
          </a:xfrm>
          <a:prstGeom prst="upArrow">
            <a:avLst>
              <a:gd name="adj1" fmla="val 50000"/>
              <a:gd name="adj2" fmla="val 87500"/>
            </a:avLst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Up Arrow 25"/>
          <p:cNvSpPr/>
          <p:nvPr/>
        </p:nvSpPr>
        <p:spPr>
          <a:xfrm>
            <a:off x="866546" y="2758104"/>
            <a:ext cx="228600" cy="457200"/>
          </a:xfrm>
          <a:prstGeom prst="upArrow">
            <a:avLst>
              <a:gd name="adj1" fmla="val 50000"/>
              <a:gd name="adj2" fmla="val 87500"/>
            </a:avLst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Up Arrow 26"/>
          <p:cNvSpPr/>
          <p:nvPr/>
        </p:nvSpPr>
        <p:spPr>
          <a:xfrm>
            <a:off x="1657729" y="1724832"/>
            <a:ext cx="228600" cy="1490472"/>
          </a:xfrm>
          <a:prstGeom prst="upArrow">
            <a:avLst>
              <a:gd name="adj1" fmla="val 50000"/>
              <a:gd name="adj2" fmla="val 87500"/>
            </a:avLst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Up Arrow 27"/>
          <p:cNvSpPr/>
          <p:nvPr/>
        </p:nvSpPr>
        <p:spPr>
          <a:xfrm>
            <a:off x="1657729" y="3815522"/>
            <a:ext cx="228600" cy="420624"/>
          </a:xfrm>
          <a:prstGeom prst="upArrow">
            <a:avLst>
              <a:gd name="adj1" fmla="val 50000"/>
              <a:gd name="adj2" fmla="val 87500"/>
            </a:avLst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ounded Rectangle 29"/>
          <p:cNvSpPr/>
          <p:nvPr/>
        </p:nvSpPr>
        <p:spPr>
          <a:xfrm>
            <a:off x="714146" y="2247726"/>
            <a:ext cx="533400" cy="457200"/>
          </a:xfrm>
          <a:prstGeom prst="roundRect">
            <a:avLst>
              <a:gd name="adj" fmla="val 0"/>
            </a:avLst>
          </a:prstGeom>
          <a:solidFill>
            <a:srgbClr val="2C72D0"/>
          </a:solidFill>
          <a:ln>
            <a:solidFill>
              <a:srgbClr val="2C72D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dirty="0" smtClean="0">
                <a:latin typeface="Segoe"/>
              </a:rPr>
              <a:t>Search</a:t>
            </a:r>
            <a:endParaRPr lang="en-US" sz="1000" dirty="0">
              <a:latin typeface="Segoe"/>
            </a:endParaRPr>
          </a:p>
        </p:txBody>
      </p:sp>
      <p:sp>
        <p:nvSpPr>
          <p:cNvPr id="31" name="Rounded Rectangle 30"/>
          <p:cNvSpPr/>
          <p:nvPr/>
        </p:nvSpPr>
        <p:spPr>
          <a:xfrm>
            <a:off x="1505329" y="3304020"/>
            <a:ext cx="533400" cy="457200"/>
          </a:xfrm>
          <a:prstGeom prst="roundRect">
            <a:avLst>
              <a:gd name="adj" fmla="val 0"/>
            </a:avLst>
          </a:prstGeom>
          <a:solidFill>
            <a:srgbClr val="2C72D0"/>
          </a:solidFill>
          <a:ln>
            <a:solidFill>
              <a:srgbClr val="2C72D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dirty="0" smtClean="0">
                <a:latin typeface="Segoe"/>
              </a:rPr>
              <a:t>Search</a:t>
            </a:r>
            <a:endParaRPr lang="en-US" sz="1000" dirty="0">
              <a:latin typeface="Segoe"/>
            </a:endParaRPr>
          </a:p>
        </p:txBody>
      </p:sp>
      <p:pic>
        <p:nvPicPr>
          <p:cNvPr id="32" name="Picture 31" descr="Google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229" y="5479734"/>
            <a:ext cx="1193800" cy="416442"/>
          </a:xfrm>
          <a:prstGeom prst="rect">
            <a:avLst/>
          </a:prstGeom>
        </p:spPr>
      </p:pic>
      <p:sp>
        <p:nvSpPr>
          <p:cNvPr id="62" name="Up Arrow 61"/>
          <p:cNvSpPr/>
          <p:nvPr/>
        </p:nvSpPr>
        <p:spPr>
          <a:xfrm>
            <a:off x="2390546" y="1724832"/>
            <a:ext cx="228600" cy="1981200"/>
          </a:xfrm>
          <a:prstGeom prst="upArrow">
            <a:avLst>
              <a:gd name="adj1" fmla="val 50000"/>
              <a:gd name="adj2" fmla="val 87500"/>
            </a:avLst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Rounded Rectangle 64"/>
          <p:cNvSpPr/>
          <p:nvPr/>
        </p:nvSpPr>
        <p:spPr>
          <a:xfrm>
            <a:off x="1211794" y="886632"/>
            <a:ext cx="1143000" cy="457200"/>
          </a:xfrm>
          <a:prstGeom prst="roundRect">
            <a:avLst>
              <a:gd name="adj" fmla="val 0"/>
            </a:avLst>
          </a:prstGeom>
          <a:solidFill>
            <a:srgbClr val="2C72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dirty="0" smtClean="0">
                <a:latin typeface="Segoe"/>
              </a:rPr>
              <a:t>Google Services, Cloud, App Store</a:t>
            </a:r>
            <a:endParaRPr lang="en-US" sz="1000" dirty="0">
              <a:latin typeface="Segoe"/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7964035" y="3782232"/>
            <a:ext cx="457200" cy="457200"/>
          </a:xfrm>
          <a:prstGeom prst="roundRect">
            <a:avLst>
              <a:gd name="adj" fmla="val 0"/>
            </a:avLst>
          </a:prstGeom>
          <a:solidFill>
            <a:srgbClr val="0070C0"/>
          </a:solidFill>
          <a:ln w="7620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dirty="0" smtClean="0">
                <a:latin typeface="Segoe"/>
              </a:rPr>
              <a:t>Apps</a:t>
            </a:r>
            <a:endParaRPr lang="en-US" sz="1000" dirty="0">
              <a:latin typeface="Segoe"/>
            </a:endParaRPr>
          </a:p>
        </p:txBody>
      </p:sp>
      <p:sp>
        <p:nvSpPr>
          <p:cNvPr id="47" name="Rounded Rectangle 46"/>
          <p:cNvSpPr/>
          <p:nvPr/>
        </p:nvSpPr>
        <p:spPr>
          <a:xfrm>
            <a:off x="6401935" y="4870134"/>
            <a:ext cx="2011680" cy="457200"/>
          </a:xfrm>
          <a:prstGeom prst="roundRect">
            <a:avLst>
              <a:gd name="adj" fmla="val 0"/>
            </a:avLst>
          </a:prstGeom>
          <a:solidFill>
            <a:srgbClr val="2C72D0"/>
          </a:solidFill>
          <a:ln>
            <a:solidFill>
              <a:srgbClr val="2C72D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latin typeface="Segoe"/>
              </a:rPr>
              <a:t>Device</a:t>
            </a:r>
            <a:endParaRPr lang="en-US" dirty="0">
              <a:latin typeface="Segoe"/>
            </a:endParaRPr>
          </a:p>
        </p:txBody>
      </p:sp>
      <p:sp>
        <p:nvSpPr>
          <p:cNvPr id="48" name="Rounded Rectangle 47"/>
          <p:cNvSpPr/>
          <p:nvPr/>
        </p:nvSpPr>
        <p:spPr>
          <a:xfrm>
            <a:off x="6401935" y="4356390"/>
            <a:ext cx="2011680" cy="457200"/>
          </a:xfrm>
          <a:prstGeom prst="roundRect">
            <a:avLst>
              <a:gd name="adj" fmla="val 0"/>
            </a:avLst>
          </a:prstGeom>
          <a:solidFill>
            <a:srgbClr val="2C72D0"/>
          </a:solidFill>
          <a:ln>
            <a:solidFill>
              <a:srgbClr val="2C72D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latin typeface="Segoe"/>
              </a:rPr>
              <a:t>OS</a:t>
            </a:r>
            <a:endParaRPr lang="en-US" dirty="0">
              <a:latin typeface="Segoe"/>
            </a:endParaRPr>
          </a:p>
        </p:txBody>
      </p:sp>
      <p:sp>
        <p:nvSpPr>
          <p:cNvPr id="49" name="Rounded Rectangle 48"/>
          <p:cNvSpPr/>
          <p:nvPr/>
        </p:nvSpPr>
        <p:spPr>
          <a:xfrm>
            <a:off x="6401935" y="3304020"/>
            <a:ext cx="723900" cy="914400"/>
          </a:xfrm>
          <a:prstGeom prst="roundRect">
            <a:avLst>
              <a:gd name="adj" fmla="val 0"/>
            </a:avLst>
          </a:prstGeom>
          <a:solidFill>
            <a:srgbClr val="2C72D0"/>
          </a:solidFill>
          <a:ln>
            <a:solidFill>
              <a:srgbClr val="2C72D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dirty="0" smtClean="0">
                <a:latin typeface="Segoe"/>
              </a:rPr>
              <a:t>Browser</a:t>
            </a:r>
            <a:endParaRPr lang="en-US" sz="1000" dirty="0">
              <a:latin typeface="Segoe"/>
            </a:endParaRPr>
          </a:p>
        </p:txBody>
      </p:sp>
      <p:sp>
        <p:nvSpPr>
          <p:cNvPr id="50" name="Up Arrow 49"/>
          <p:cNvSpPr/>
          <p:nvPr/>
        </p:nvSpPr>
        <p:spPr>
          <a:xfrm>
            <a:off x="6973435" y="1724832"/>
            <a:ext cx="228600" cy="1490472"/>
          </a:xfrm>
          <a:prstGeom prst="upArrow">
            <a:avLst>
              <a:gd name="adj1" fmla="val 50000"/>
              <a:gd name="adj2" fmla="val 87500"/>
            </a:avLst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Up Arrow 50"/>
          <p:cNvSpPr/>
          <p:nvPr/>
        </p:nvSpPr>
        <p:spPr>
          <a:xfrm>
            <a:off x="6563252" y="1724832"/>
            <a:ext cx="228600" cy="457200"/>
          </a:xfrm>
          <a:prstGeom prst="upArrow">
            <a:avLst>
              <a:gd name="adj1" fmla="val 50000"/>
              <a:gd name="adj2" fmla="val 87500"/>
            </a:avLst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Up Arrow 51"/>
          <p:cNvSpPr/>
          <p:nvPr/>
        </p:nvSpPr>
        <p:spPr>
          <a:xfrm>
            <a:off x="6563252" y="2758104"/>
            <a:ext cx="228600" cy="457200"/>
          </a:xfrm>
          <a:prstGeom prst="upArrow">
            <a:avLst>
              <a:gd name="adj1" fmla="val 50000"/>
              <a:gd name="adj2" fmla="val 87500"/>
            </a:avLst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Up Arrow 52"/>
          <p:cNvSpPr/>
          <p:nvPr/>
        </p:nvSpPr>
        <p:spPr>
          <a:xfrm>
            <a:off x="7354435" y="1724832"/>
            <a:ext cx="228600" cy="1490472"/>
          </a:xfrm>
          <a:prstGeom prst="upArrow">
            <a:avLst>
              <a:gd name="adj1" fmla="val 50000"/>
              <a:gd name="adj2" fmla="val 87500"/>
            </a:avLst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Up Arrow 53"/>
          <p:cNvSpPr/>
          <p:nvPr/>
        </p:nvSpPr>
        <p:spPr>
          <a:xfrm>
            <a:off x="7354435" y="3815522"/>
            <a:ext cx="228600" cy="420624"/>
          </a:xfrm>
          <a:prstGeom prst="upArrow">
            <a:avLst>
              <a:gd name="adj1" fmla="val 50000"/>
              <a:gd name="adj2" fmla="val 87500"/>
            </a:avLst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ounded Rectangle 54"/>
          <p:cNvSpPr/>
          <p:nvPr/>
        </p:nvSpPr>
        <p:spPr>
          <a:xfrm>
            <a:off x="6410852" y="2247726"/>
            <a:ext cx="533400" cy="457200"/>
          </a:xfrm>
          <a:prstGeom prst="roundRect">
            <a:avLst>
              <a:gd name="adj" fmla="val 0"/>
            </a:avLst>
          </a:prstGeom>
          <a:solidFill>
            <a:srgbClr val="2C72D0"/>
          </a:solidFill>
          <a:ln>
            <a:solidFill>
              <a:srgbClr val="2C72D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dirty="0" smtClean="0">
                <a:latin typeface="Segoe"/>
              </a:rPr>
              <a:t>Search</a:t>
            </a:r>
            <a:endParaRPr lang="en-US" sz="1000" dirty="0">
              <a:latin typeface="Segoe"/>
            </a:endParaRPr>
          </a:p>
        </p:txBody>
      </p:sp>
      <p:sp>
        <p:nvSpPr>
          <p:cNvPr id="56" name="Rounded Rectangle 55"/>
          <p:cNvSpPr/>
          <p:nvPr/>
        </p:nvSpPr>
        <p:spPr>
          <a:xfrm>
            <a:off x="7202035" y="3304020"/>
            <a:ext cx="533400" cy="457200"/>
          </a:xfrm>
          <a:prstGeom prst="roundRect">
            <a:avLst>
              <a:gd name="adj" fmla="val 0"/>
            </a:avLst>
          </a:prstGeom>
          <a:solidFill>
            <a:srgbClr val="2C72D0"/>
          </a:solidFill>
          <a:ln>
            <a:solidFill>
              <a:srgbClr val="2C72D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dirty="0" smtClean="0">
                <a:latin typeface="Segoe"/>
              </a:rPr>
              <a:t>Search</a:t>
            </a:r>
            <a:endParaRPr lang="en-US" sz="1000" dirty="0">
              <a:latin typeface="Segoe"/>
            </a:endParaRPr>
          </a:p>
        </p:txBody>
      </p:sp>
      <p:sp>
        <p:nvSpPr>
          <p:cNvPr id="58" name="Rounded Rectangle 57"/>
          <p:cNvSpPr/>
          <p:nvPr/>
        </p:nvSpPr>
        <p:spPr>
          <a:xfrm>
            <a:off x="6841217" y="886632"/>
            <a:ext cx="1143000" cy="457200"/>
          </a:xfrm>
          <a:prstGeom prst="roundRect">
            <a:avLst>
              <a:gd name="adj" fmla="val 0"/>
            </a:avLst>
          </a:prstGeom>
          <a:solidFill>
            <a:srgbClr val="2C72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dirty="0" smtClean="0">
                <a:latin typeface="Segoe"/>
              </a:rPr>
              <a:t>iTunes; </a:t>
            </a:r>
            <a:r>
              <a:rPr lang="en-US" sz="1000" dirty="0" err="1" smtClean="0">
                <a:latin typeface="Segoe"/>
              </a:rPr>
              <a:t>iCloud</a:t>
            </a:r>
            <a:r>
              <a:rPr lang="en-US" sz="1000" dirty="0" smtClean="0">
                <a:latin typeface="Segoe"/>
              </a:rPr>
              <a:t>; </a:t>
            </a:r>
          </a:p>
          <a:p>
            <a:pPr algn="ctr"/>
            <a:r>
              <a:rPr lang="en-US" sz="1000" dirty="0" smtClean="0">
                <a:latin typeface="Segoe"/>
              </a:rPr>
              <a:t>App Store</a:t>
            </a:r>
            <a:endParaRPr lang="en-US" sz="1000" dirty="0">
              <a:latin typeface="Segoe"/>
            </a:endParaRPr>
          </a:p>
        </p:txBody>
      </p:sp>
      <p:pic>
        <p:nvPicPr>
          <p:cNvPr id="59" name="Picture 58" descr="Apple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2852" y="5403534"/>
            <a:ext cx="385590" cy="444500"/>
          </a:xfrm>
          <a:prstGeom prst="rect">
            <a:avLst/>
          </a:prstGeom>
        </p:spPr>
      </p:pic>
      <p:sp>
        <p:nvSpPr>
          <p:cNvPr id="64" name="Up Arrow 63"/>
          <p:cNvSpPr/>
          <p:nvPr/>
        </p:nvSpPr>
        <p:spPr>
          <a:xfrm>
            <a:off x="8087252" y="1724832"/>
            <a:ext cx="228600" cy="1981200"/>
          </a:xfrm>
          <a:prstGeom prst="upArrow">
            <a:avLst>
              <a:gd name="adj1" fmla="val 50000"/>
              <a:gd name="adj2" fmla="val 87500"/>
            </a:avLst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1" name="Group 60"/>
          <p:cNvGrpSpPr/>
          <p:nvPr/>
        </p:nvGrpSpPr>
        <p:grpSpPr>
          <a:xfrm>
            <a:off x="3486861" y="886632"/>
            <a:ext cx="2019300" cy="4931773"/>
            <a:chOff x="4959797" y="886632"/>
            <a:chExt cx="2019300" cy="4931773"/>
          </a:xfrm>
        </p:grpSpPr>
        <p:sp>
          <p:nvSpPr>
            <p:cNvPr id="66" name="Rounded Rectangle 65"/>
            <p:cNvSpPr/>
            <p:nvPr/>
          </p:nvSpPr>
          <p:spPr>
            <a:xfrm>
              <a:off x="6521897" y="3782232"/>
              <a:ext cx="457200" cy="457200"/>
            </a:xfrm>
            <a:prstGeom prst="roundRect">
              <a:avLst>
                <a:gd name="adj" fmla="val 0"/>
              </a:avLst>
            </a:prstGeom>
            <a:solidFill>
              <a:srgbClr val="183860"/>
            </a:solidFill>
            <a:ln w="7620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000" dirty="0" smtClean="0">
                  <a:latin typeface="Segoe"/>
                </a:rPr>
                <a:t>Apps</a:t>
              </a:r>
              <a:endParaRPr lang="en-US" sz="1000" dirty="0">
                <a:latin typeface="Segoe"/>
              </a:endParaRPr>
            </a:p>
          </p:txBody>
        </p:sp>
        <p:sp>
          <p:nvSpPr>
            <p:cNvPr id="67" name="Rounded Rectangle 66"/>
            <p:cNvSpPr/>
            <p:nvPr/>
          </p:nvSpPr>
          <p:spPr>
            <a:xfrm>
              <a:off x="4959797" y="4870134"/>
              <a:ext cx="2011680" cy="457200"/>
            </a:xfrm>
            <a:prstGeom prst="roundRect">
              <a:avLst>
                <a:gd name="adj" fmla="val 0"/>
              </a:avLst>
            </a:prstGeom>
            <a:solidFill>
              <a:srgbClr val="2C72D0"/>
            </a:solidFill>
            <a:ln>
              <a:solidFill>
                <a:srgbClr val="2C72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latin typeface="Segoe"/>
                </a:rPr>
                <a:t>Device</a:t>
              </a:r>
              <a:endParaRPr lang="en-US" dirty="0">
                <a:latin typeface="Segoe"/>
              </a:endParaRPr>
            </a:p>
          </p:txBody>
        </p:sp>
        <p:sp>
          <p:nvSpPr>
            <p:cNvPr id="68" name="Rounded Rectangle 67"/>
            <p:cNvSpPr/>
            <p:nvPr/>
          </p:nvSpPr>
          <p:spPr>
            <a:xfrm>
              <a:off x="4959797" y="4356390"/>
              <a:ext cx="2011680" cy="457200"/>
            </a:xfrm>
            <a:prstGeom prst="roundRect">
              <a:avLst>
                <a:gd name="adj" fmla="val 0"/>
              </a:avLst>
            </a:prstGeom>
            <a:solidFill>
              <a:srgbClr val="2C72D0"/>
            </a:solidFill>
            <a:ln>
              <a:solidFill>
                <a:srgbClr val="2C72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latin typeface="Segoe"/>
                </a:rPr>
                <a:t>OS</a:t>
              </a:r>
              <a:endParaRPr lang="en-US" dirty="0">
                <a:latin typeface="Segoe"/>
              </a:endParaRPr>
            </a:p>
          </p:txBody>
        </p:sp>
        <p:sp>
          <p:nvSpPr>
            <p:cNvPr id="69" name="Rounded Rectangle 68"/>
            <p:cNvSpPr/>
            <p:nvPr/>
          </p:nvSpPr>
          <p:spPr>
            <a:xfrm>
              <a:off x="4959797" y="3304020"/>
              <a:ext cx="723900" cy="914400"/>
            </a:xfrm>
            <a:prstGeom prst="roundRect">
              <a:avLst>
                <a:gd name="adj" fmla="val 0"/>
              </a:avLst>
            </a:prstGeom>
            <a:solidFill>
              <a:srgbClr val="2C72D0"/>
            </a:solidFill>
            <a:ln>
              <a:solidFill>
                <a:srgbClr val="2C72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000" dirty="0" smtClean="0">
                  <a:latin typeface="Segoe"/>
                </a:rPr>
                <a:t>Browser</a:t>
              </a:r>
              <a:endParaRPr lang="en-US" sz="1000" dirty="0">
                <a:latin typeface="Segoe"/>
              </a:endParaRPr>
            </a:p>
          </p:txBody>
        </p:sp>
        <p:sp>
          <p:nvSpPr>
            <p:cNvPr id="70" name="Up Arrow 69"/>
            <p:cNvSpPr/>
            <p:nvPr/>
          </p:nvSpPr>
          <p:spPr>
            <a:xfrm>
              <a:off x="5531297" y="1724832"/>
              <a:ext cx="228600" cy="1490472"/>
            </a:xfrm>
            <a:prstGeom prst="upArrow">
              <a:avLst>
                <a:gd name="adj1" fmla="val 50000"/>
                <a:gd name="adj2" fmla="val 87500"/>
              </a:avLst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Up Arrow 70"/>
            <p:cNvSpPr/>
            <p:nvPr/>
          </p:nvSpPr>
          <p:spPr>
            <a:xfrm>
              <a:off x="5121114" y="1724832"/>
              <a:ext cx="228600" cy="457200"/>
            </a:xfrm>
            <a:prstGeom prst="upArrow">
              <a:avLst>
                <a:gd name="adj1" fmla="val 50000"/>
                <a:gd name="adj2" fmla="val 87500"/>
              </a:avLst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" name="Up Arrow 71"/>
            <p:cNvSpPr/>
            <p:nvPr/>
          </p:nvSpPr>
          <p:spPr>
            <a:xfrm>
              <a:off x="5121114" y="2758104"/>
              <a:ext cx="228600" cy="457200"/>
            </a:xfrm>
            <a:prstGeom prst="upArrow">
              <a:avLst>
                <a:gd name="adj1" fmla="val 50000"/>
                <a:gd name="adj2" fmla="val 87500"/>
              </a:avLst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" name="Up Arrow 72"/>
            <p:cNvSpPr/>
            <p:nvPr/>
          </p:nvSpPr>
          <p:spPr>
            <a:xfrm>
              <a:off x="5912297" y="1724832"/>
              <a:ext cx="228600" cy="1490472"/>
            </a:xfrm>
            <a:prstGeom prst="upArrow">
              <a:avLst>
                <a:gd name="adj1" fmla="val 50000"/>
                <a:gd name="adj2" fmla="val 87500"/>
              </a:avLst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" name="Up Arrow 73"/>
            <p:cNvSpPr/>
            <p:nvPr/>
          </p:nvSpPr>
          <p:spPr>
            <a:xfrm>
              <a:off x="5912297" y="3815522"/>
              <a:ext cx="228600" cy="420624"/>
            </a:xfrm>
            <a:prstGeom prst="upArrow">
              <a:avLst>
                <a:gd name="adj1" fmla="val 50000"/>
                <a:gd name="adj2" fmla="val 87500"/>
              </a:avLst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Rounded Rectangle 74"/>
            <p:cNvSpPr/>
            <p:nvPr/>
          </p:nvSpPr>
          <p:spPr>
            <a:xfrm>
              <a:off x="4968714" y="2247726"/>
              <a:ext cx="533400" cy="457200"/>
            </a:xfrm>
            <a:prstGeom prst="roundRect">
              <a:avLst>
                <a:gd name="adj" fmla="val 0"/>
              </a:avLst>
            </a:prstGeom>
            <a:solidFill>
              <a:srgbClr val="183860"/>
            </a:solidFill>
            <a:ln>
              <a:solidFill>
                <a:srgbClr val="1838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000" dirty="0" smtClean="0">
                  <a:latin typeface="Segoe"/>
                </a:rPr>
                <a:t>Search</a:t>
              </a:r>
              <a:endParaRPr lang="en-US" sz="1000" dirty="0">
                <a:latin typeface="Segoe"/>
              </a:endParaRPr>
            </a:p>
          </p:txBody>
        </p:sp>
        <p:sp>
          <p:nvSpPr>
            <p:cNvPr id="76" name="Rounded Rectangle 75"/>
            <p:cNvSpPr/>
            <p:nvPr/>
          </p:nvSpPr>
          <p:spPr>
            <a:xfrm>
              <a:off x="5759897" y="3304020"/>
              <a:ext cx="533400" cy="457200"/>
            </a:xfrm>
            <a:prstGeom prst="roundRect">
              <a:avLst>
                <a:gd name="adj" fmla="val 0"/>
              </a:avLst>
            </a:prstGeom>
            <a:solidFill>
              <a:srgbClr val="183860"/>
            </a:solidFill>
            <a:ln>
              <a:solidFill>
                <a:srgbClr val="1838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000" dirty="0" smtClean="0">
                  <a:latin typeface="Segoe"/>
                </a:rPr>
                <a:t>Search</a:t>
              </a:r>
              <a:endParaRPr lang="en-US" sz="1000" dirty="0">
                <a:latin typeface="Segoe"/>
              </a:endParaRPr>
            </a:p>
          </p:txBody>
        </p:sp>
        <p:pic>
          <p:nvPicPr>
            <p:cNvPr id="77" name="Picture 76" descr="Amazon.png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40797" y="5555934"/>
              <a:ext cx="1335102" cy="262471"/>
            </a:xfrm>
            <a:prstGeom prst="rect">
              <a:avLst/>
            </a:prstGeom>
          </p:spPr>
        </p:pic>
        <p:sp>
          <p:nvSpPr>
            <p:cNvPr id="78" name="Rounded Rectangle 77"/>
            <p:cNvSpPr/>
            <p:nvPr/>
          </p:nvSpPr>
          <p:spPr>
            <a:xfrm>
              <a:off x="5466362" y="886632"/>
              <a:ext cx="1143000" cy="457200"/>
            </a:xfrm>
            <a:prstGeom prst="roundRect">
              <a:avLst>
                <a:gd name="adj" fmla="val 0"/>
              </a:avLst>
            </a:prstGeom>
            <a:solidFill>
              <a:srgbClr val="2C72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000" dirty="0">
                  <a:latin typeface="Segoe"/>
                  <a:cs typeface="Segoe"/>
                </a:rPr>
                <a:t>Retail/Content</a:t>
              </a:r>
              <a:r>
                <a:rPr lang="en-US" sz="1000" dirty="0" smtClean="0">
                  <a:latin typeface="Segoe"/>
                  <a:cs typeface="Segoe"/>
                </a:rPr>
                <a:t>/</a:t>
              </a:r>
              <a:br>
                <a:rPr lang="en-US" sz="1000" dirty="0" smtClean="0">
                  <a:latin typeface="Segoe"/>
                  <a:cs typeface="Segoe"/>
                </a:rPr>
              </a:br>
              <a:r>
                <a:rPr lang="en-US" sz="1000" dirty="0" smtClean="0">
                  <a:latin typeface="Segoe"/>
                  <a:cs typeface="Segoe"/>
                </a:rPr>
                <a:t>App </a:t>
              </a:r>
              <a:r>
                <a:rPr lang="en-US" sz="1000" dirty="0">
                  <a:latin typeface="Segoe"/>
                  <a:cs typeface="Segoe"/>
                </a:rPr>
                <a:t>Stores;</a:t>
              </a:r>
            </a:p>
            <a:p>
              <a:pPr algn="ctr"/>
              <a:r>
                <a:rPr lang="en-US" sz="1000" dirty="0">
                  <a:latin typeface="Segoe"/>
                  <a:cs typeface="Segoe"/>
                </a:rPr>
                <a:t>Cloud storage</a:t>
              </a:r>
            </a:p>
          </p:txBody>
        </p:sp>
        <p:sp>
          <p:nvSpPr>
            <p:cNvPr id="79" name="Up Arrow 78"/>
            <p:cNvSpPr/>
            <p:nvPr/>
          </p:nvSpPr>
          <p:spPr>
            <a:xfrm>
              <a:off x="6645114" y="1724832"/>
              <a:ext cx="228600" cy="1981200"/>
            </a:xfrm>
            <a:prstGeom prst="upArrow">
              <a:avLst>
                <a:gd name="adj1" fmla="val 50000"/>
                <a:gd name="adj2" fmla="val 87500"/>
              </a:avLst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0" name="Up Arrow 59"/>
          <p:cNvSpPr/>
          <p:nvPr/>
        </p:nvSpPr>
        <p:spPr>
          <a:xfrm>
            <a:off x="4820361" y="1316400"/>
            <a:ext cx="228600" cy="2935224"/>
          </a:xfrm>
          <a:prstGeom prst="upArrow">
            <a:avLst>
              <a:gd name="adj1" fmla="val 50000"/>
              <a:gd name="adj2" fmla="val 87500"/>
            </a:avLst>
          </a:prstGeom>
          <a:solidFill>
            <a:srgbClr val="E344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Up Arrow 62"/>
          <p:cNvSpPr/>
          <p:nvPr/>
        </p:nvSpPr>
        <p:spPr>
          <a:xfrm>
            <a:off x="2041269" y="1316400"/>
            <a:ext cx="228600" cy="2935224"/>
          </a:xfrm>
          <a:prstGeom prst="upArrow">
            <a:avLst>
              <a:gd name="adj1" fmla="val 50000"/>
              <a:gd name="adj2" fmla="val 87500"/>
            </a:avLst>
          </a:prstGeom>
          <a:solidFill>
            <a:srgbClr val="E344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Up Arrow 80"/>
          <p:cNvSpPr/>
          <p:nvPr/>
        </p:nvSpPr>
        <p:spPr>
          <a:xfrm>
            <a:off x="7735435" y="1316400"/>
            <a:ext cx="228600" cy="2935224"/>
          </a:xfrm>
          <a:prstGeom prst="upArrow">
            <a:avLst>
              <a:gd name="adj1" fmla="val 50000"/>
              <a:gd name="adj2" fmla="val 87500"/>
            </a:avLst>
          </a:prstGeom>
          <a:solidFill>
            <a:srgbClr val="E344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7235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se Study: Internet Search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smtClean="0"/>
              <a:t>Multi-sided markets</a:t>
            </a:r>
          </a:p>
          <a:p>
            <a:pPr lvl="0"/>
            <a:r>
              <a:rPr lang="en-US" dirty="0" smtClean="0"/>
              <a:t>Economies of scale and data</a:t>
            </a:r>
          </a:p>
          <a:p>
            <a:pPr lvl="0"/>
            <a:r>
              <a:rPr lang="en-US" dirty="0" smtClean="0"/>
              <a:t>Referrals on the internet and bottlenecks</a:t>
            </a: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5786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0nLYlI7kGpdBrcYbsc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JBH9Y5a0WmOIoYHGfXV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VrvoiXIU6Oc3w1ay14x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yV1pGzqUiZiKRDTb7CX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7AAre3h0epl7Vj0ZRCYg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Origin">
  <a:themeElements>
    <a:clrScheme name="Origin">
      <a:dk1>
        <a:sysClr val="windowText" lastClr="000000"/>
      </a:dk1>
      <a:lt1>
        <a:sysClr val="window" lastClr="FFFFFF"/>
      </a:lt1>
      <a:dk2>
        <a:srgbClr val="464653"/>
      </a:dk2>
      <a:lt2>
        <a:srgbClr val="DDE9EC"/>
      </a:lt2>
      <a:accent1>
        <a:srgbClr val="727CA3"/>
      </a:accent1>
      <a:accent2>
        <a:srgbClr val="9FB8CD"/>
      </a:accent2>
      <a:accent3>
        <a:srgbClr val="D2DA7A"/>
      </a:accent3>
      <a:accent4>
        <a:srgbClr val="FADA7A"/>
      </a:accent4>
      <a:accent5>
        <a:srgbClr val="B88472"/>
      </a:accent5>
      <a:accent6>
        <a:srgbClr val="8E736A"/>
      </a:accent6>
      <a:hlink>
        <a:srgbClr val="B292CA"/>
      </a:hlink>
      <a:folHlink>
        <a:srgbClr val="6B5680"/>
      </a:folHlink>
    </a:clrScheme>
    <a:fontScheme name="Origin">
      <a:majorFont>
        <a:latin typeface="Bookman Old Style"/>
        <a:ea typeface=""/>
        <a:cs typeface=""/>
        <a:font script="Grek" typeface="Cambria"/>
        <a:font script="Cyrl" typeface="Cambria"/>
        <a:font script="Jpan" typeface="HG明朝E"/>
        <a:font script="Hang" typeface="돋움"/>
        <a:font script="Hans" typeface="宋体"/>
        <a:font script="Hant" typeface="標楷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Gill Sans MT"/>
        <a:ea typeface=""/>
        <a:cs typeface=""/>
        <a:font script="Grek" typeface="Calibri"/>
        <a:font script="Cyrl" typeface="Calibri"/>
        <a:font script="Jpan" typeface="ＭＳ Ｐゴシック"/>
        <a:font script="Hang" typeface="맑은 고딕"/>
        <a:font script="Hans" typeface="华文新魏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rigin">
      <a:fillStyleLst>
        <a:solidFill>
          <a:schemeClr val="phClr"/>
        </a:solidFill>
        <a:gradFill rotWithShape="1">
          <a:gsLst>
            <a:gs pos="0">
              <a:schemeClr val="phClr">
                <a:tint val="45000"/>
                <a:satMod val="200000"/>
              </a:schemeClr>
            </a:gs>
            <a:gs pos="30000">
              <a:schemeClr val="phClr">
                <a:tint val="61000"/>
                <a:satMod val="200000"/>
              </a:schemeClr>
            </a:gs>
            <a:gs pos="45000">
              <a:schemeClr val="phClr">
                <a:tint val="66000"/>
                <a:satMod val="200000"/>
              </a:schemeClr>
            </a:gs>
            <a:gs pos="55000">
              <a:schemeClr val="phClr">
                <a:tint val="66000"/>
                <a:satMod val="200000"/>
              </a:schemeClr>
            </a:gs>
            <a:gs pos="73000">
              <a:schemeClr val="phClr">
                <a:tint val="61000"/>
                <a:satMod val="200000"/>
              </a:schemeClr>
            </a:gs>
            <a:gs pos="100000">
              <a:schemeClr val="phClr">
                <a:tint val="45000"/>
                <a:satMod val="200000"/>
              </a:schemeClr>
            </a:gs>
          </a:gsLst>
          <a:lin ang="950000" scaled="1"/>
        </a:gradFill>
        <a:gradFill rotWithShape="1">
          <a:gsLst>
            <a:gs pos="0">
              <a:schemeClr val="phClr">
                <a:shade val="63000"/>
              </a:schemeClr>
            </a:gs>
            <a:gs pos="30000">
              <a:schemeClr val="phClr">
                <a:shade val="90000"/>
                <a:satMod val="110000"/>
              </a:schemeClr>
            </a:gs>
            <a:gs pos="45000">
              <a:schemeClr val="phClr">
                <a:shade val="100000"/>
                <a:satMod val="118000"/>
              </a:schemeClr>
            </a:gs>
            <a:gs pos="55000">
              <a:schemeClr val="phClr">
                <a:shade val="100000"/>
                <a:satMod val="118000"/>
              </a:schemeClr>
            </a:gs>
            <a:gs pos="73000">
              <a:schemeClr val="phClr">
                <a:shade val="90000"/>
                <a:satMod val="110000"/>
              </a:schemeClr>
            </a:gs>
            <a:gs pos="100000">
              <a:schemeClr val="phClr">
                <a:shade val="63000"/>
              </a:schemeClr>
            </a:gs>
          </a:gsLst>
          <a:lin ang="950000" scaled="1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43000" dir="5400000" rotWithShape="0">
              <a:srgbClr val="000000">
                <a:alpha val="40000"/>
              </a:srgbClr>
            </a:outerShdw>
          </a:effectLst>
          <a:scene3d>
            <a:camera prst="orthographicFront" fov="0">
              <a:rot lat="0" lon="0" rev="0"/>
            </a:camera>
            <a:lightRig rig="balanced" dir="t">
              <a:rot lat="0" lon="0" rev="0"/>
            </a:lightRig>
          </a:scene3d>
          <a:sp3d prstMaterial="matte">
            <a:bevelT w="0" h="0"/>
            <a:contourClr>
              <a:schemeClr val="phClr">
                <a:tint val="100000"/>
                <a:shade val="100000"/>
                <a:hueMod val="100000"/>
                <a:satMod val="100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50000"/>
              </a:srgbClr>
            </a:outerShdw>
          </a:effectLst>
          <a:scene3d>
            <a:camera prst="orthographicFront" fov="0">
              <a:rot lat="0" lon="0" rev="0"/>
            </a:camera>
            <a:lightRig rig="soft" dir="t">
              <a:rot lat="0" lon="0" rev="2700000"/>
            </a:lightRig>
          </a:scene3d>
          <a:sp3d prstMaterial="matte">
            <a:bevelT w="50800" h="508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atMod val="220000"/>
              </a:schemeClr>
            </a:gs>
          </a:gsLst>
          <a:lin ang="16200000" scaled="1"/>
        </a:gradFill>
        <a:blipFill>
          <a:blip xmlns:r="http://schemas.openxmlformats.org/officeDocument/2006/relationships" r:embed="rId1">
            <a:duotone>
              <a:schemeClr val="phClr">
                <a:shade val="6000"/>
                <a:satMod val="120000"/>
              </a:schemeClr>
              <a:schemeClr val="phClr">
                <a:tint val="90000"/>
              </a:schemeClr>
            </a:duotone>
          </a:blip>
          <a:tile tx="0" ty="0" sx="35000" sy="40000" flip="x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Origin</Template>
  <TotalTime>7633</TotalTime>
  <Words>389</Words>
  <Application>Microsoft Office PowerPoint</Application>
  <PresentationFormat>On-screen Show (4:3)</PresentationFormat>
  <Paragraphs>121</Paragraphs>
  <Slides>14</Slides>
  <Notes>5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6" baseType="lpstr">
      <vt:lpstr>Origin</vt:lpstr>
      <vt:lpstr>think-cell Slide</vt:lpstr>
      <vt:lpstr>Bottlenecks on the Internet  and Platform Competition</vt:lpstr>
      <vt:lpstr>Questions</vt:lpstr>
      <vt:lpstr>Device Platforms</vt:lpstr>
      <vt:lpstr>Platform Competition and Innovation</vt:lpstr>
      <vt:lpstr>PowerPoint Presentation</vt:lpstr>
      <vt:lpstr>Antitrust and the Browser Wars, Revisted</vt:lpstr>
      <vt:lpstr>Mobile Platforms</vt:lpstr>
      <vt:lpstr>PowerPoint Presentation</vt:lpstr>
      <vt:lpstr>Case Study: Internet Search</vt:lpstr>
      <vt:lpstr>PowerPoint Presentation</vt:lpstr>
      <vt:lpstr>Search is Concentrated</vt:lpstr>
      <vt:lpstr>Paid Search is Concentrated (U.S.)</vt:lpstr>
      <vt:lpstr>Bottlenecks, Referrals, and Vertical Integration</vt:lpstr>
      <vt:lpstr>Manipulation and Innovation</vt:lpstr>
    </vt:vector>
  </TitlesOfParts>
  <Company>Microsoft Corporatio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signing Online and Offline Marketplaces Using Theory, Models and Field Experiments</dc:title>
  <dc:creator>Susan Athey</dc:creator>
  <cp:lastModifiedBy>Susan Athey</cp:lastModifiedBy>
  <cp:revision>338</cp:revision>
  <cp:lastPrinted>2013-02-07T20:04:32Z</cp:lastPrinted>
  <dcterms:created xsi:type="dcterms:W3CDTF">2011-08-26T13:35:04Z</dcterms:created>
  <dcterms:modified xsi:type="dcterms:W3CDTF">2013-02-11T02:36:04Z</dcterms:modified>
</cp:coreProperties>
</file>